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8"/>
  </p:notesMasterIdLst>
  <p:sldIdLst>
    <p:sldId id="3168" r:id="rId3"/>
    <p:sldId id="3382" r:id="rId4"/>
    <p:sldId id="3422" r:id="rId5"/>
    <p:sldId id="3430" r:id="rId6"/>
    <p:sldId id="3423" r:id="rId7"/>
    <p:sldId id="3424" r:id="rId8"/>
    <p:sldId id="3425" r:id="rId9"/>
    <p:sldId id="3426" r:id="rId10"/>
    <p:sldId id="3427" r:id="rId11"/>
    <p:sldId id="3428" r:id="rId12"/>
    <p:sldId id="3429" r:id="rId13"/>
    <p:sldId id="3432" r:id="rId14"/>
    <p:sldId id="3433" r:id="rId15"/>
    <p:sldId id="3434" r:id="rId16"/>
    <p:sldId id="589" r:id="rId17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0118"/>
    <a:srgbClr val="002AB0"/>
    <a:srgbClr val="FFFFFF"/>
    <a:srgbClr val="0C2F87"/>
    <a:srgbClr val="FFD5D5"/>
    <a:srgbClr val="A6A6A6"/>
    <a:srgbClr val="ED7D31"/>
    <a:srgbClr val="2F5597"/>
    <a:srgbClr val="000066"/>
    <a:srgbClr val="D5D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테마 스타일 1 - 강조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테마 스타일 1 - 강조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밝은 스타일 3 - 강조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밝은 스타일 2 - 강조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026" autoAdjust="0"/>
    <p:restoredTop sz="83515" autoAdjust="0"/>
  </p:normalViewPr>
  <p:slideViewPr>
    <p:cSldViewPr snapToGrid="0">
      <p:cViewPr>
        <p:scale>
          <a:sx n="75" d="100"/>
          <a:sy n="75" d="100"/>
        </p:scale>
        <p:origin x="882" y="45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38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9C815E-7B08-4EDE-A91D-7A7587F5005D}" type="datetimeFigureOut">
              <a:rPr lang="ko-KR" altLang="en-US" smtClean="0"/>
              <a:t>2024-01-22</a:t>
            </a:fld>
            <a:endParaRPr lang="ko-KR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874566-82AA-4BD4-9419-8BAD4BB4BF3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364443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12291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063697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10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0796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11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04381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12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75093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13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2581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14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13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2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08196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3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54841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4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39826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5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62241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6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7673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7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75028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8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11846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9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308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9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9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9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9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9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9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9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Relationship Id="rId9" Type="http://schemas.openxmlformats.org/officeDocument/2006/relationships/image" Target="../media/image9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9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9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9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9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9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12" Type="http://schemas.openxmlformats.org/officeDocument/2006/relationships/image" Target="../media/image9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2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24.bin"/><Relationship Id="rId9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ko-KR"/>
              <a:t>Click to edit Master subtitle style</a:t>
            </a:r>
            <a:endParaRPr lang="ko-KR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1-22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05062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1-22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47701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1-22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9773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79622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중제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4244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5">
            <a:extLst>
              <a:ext uri="{FF2B5EF4-FFF2-40B4-BE49-F238E27FC236}">
                <a16:creationId xmlns:a16="http://schemas.microsoft.com/office/drawing/2014/main" id="{E1C2204A-DA24-4657-9E71-818DDDFA2B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54034" y="6061075"/>
            <a:ext cx="63076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latinLnBrk="1" hangingPunct="1">
              <a:defRPr/>
            </a:pPr>
            <a:endParaRPr lang="ko-KR" altLang="en-US" sz="1800"/>
          </a:p>
        </p:txBody>
      </p:sp>
    </p:spTree>
    <p:extLst>
      <p:ext uri="{BB962C8B-B14F-4D97-AF65-F5344CB8AC3E}">
        <p14:creationId xmlns:p14="http://schemas.microsoft.com/office/powerpoint/2010/main" val="20317291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ts val="3997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 eaLnBrk="1">
              <a:lnSpc>
                <a:spcPct val="108000"/>
              </a:lnSpc>
              <a:spcAft>
                <a:spcPts val="1007"/>
              </a:spcAft>
            </a:pPr>
            <a:endParaRPr lang="en-US" sz="1999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5081" y="3848402"/>
            <a:ext cx="8923352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5794" y="4932000"/>
            <a:ext cx="8923352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19272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1511300"/>
            <a:ext cx="11398863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3873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ls Trenn- folie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1511300"/>
            <a:ext cx="11398863" cy="4140000"/>
          </a:xfrm>
        </p:spPr>
        <p:txBody>
          <a:bodyPr numCol="2" spcCol="244765"/>
          <a:lstStyle>
            <a:lvl1pPr marL="431723" marR="0" indent="-431723" algn="l" defTabSz="91381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ClrTx/>
              <a:buSzTx/>
              <a:buFont typeface="+mj-lt"/>
              <a:buAutoNum type="arabicPeriod"/>
              <a:tabLst/>
              <a:defRPr baseline="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  <a:lvl2pPr marL="863446" indent="-431723">
              <a:buFont typeface="+mj-lt"/>
              <a:buAutoNum type="alphaLcPeriod"/>
              <a:defRPr>
                <a:solidFill>
                  <a:schemeClr val="bg1">
                    <a:lumMod val="65000"/>
                    <a:lumOff val="35000"/>
                  </a:schemeClr>
                </a:solidFill>
              </a:defRPr>
            </a:lvl2pPr>
            <a:lvl3pPr marL="863446" indent="-431723">
              <a:buFont typeface="+mj-lt"/>
              <a:buAutoNum type="alphaLcPeriod"/>
              <a:defRPr sz="1999">
                <a:solidFill>
                  <a:schemeClr val="bg1">
                    <a:lumMod val="65000"/>
                    <a:lumOff val="35000"/>
                  </a:schemeClr>
                </a:solidFill>
              </a:defRPr>
            </a:lvl3pPr>
            <a:lvl4pPr marL="863446" indent="-431723">
              <a:buFont typeface="+mj-lt"/>
              <a:buAutoNum type="alphaLcPeriod"/>
              <a:defRPr sz="1999">
                <a:solidFill>
                  <a:schemeClr val="bg1">
                    <a:lumMod val="65000"/>
                    <a:lumOff val="35000"/>
                  </a:schemeClr>
                </a:solidFill>
              </a:defRPr>
            </a:lvl4pPr>
            <a:lvl5pPr marL="863446" indent="-431723">
              <a:buFont typeface="+mj-lt"/>
              <a:buAutoNum type="alphaLcPeriod"/>
              <a:defRPr sz="1999">
                <a:solidFill>
                  <a:schemeClr val="bg1">
                    <a:lumMod val="65000"/>
                    <a:lumOff val="35000"/>
                  </a:schemeClr>
                </a:solidFill>
              </a:defRPr>
            </a:lvl5pPr>
            <a:lvl6pPr marL="863446" indent="-431723">
              <a:buFont typeface="+mj-lt"/>
              <a:buAutoNum type="alphaLcPeriod"/>
              <a:defRPr sz="1999">
                <a:solidFill>
                  <a:schemeClr val="bg1">
                    <a:lumMod val="65000"/>
                    <a:lumOff val="35000"/>
                  </a:schemeClr>
                </a:solidFill>
              </a:defRPr>
            </a:lvl6pPr>
            <a:lvl7pPr marL="863446" indent="-431723">
              <a:buFont typeface="+mj-lt"/>
              <a:buAutoNum type="alphaLcPeriod"/>
              <a:defRPr sz="1999">
                <a:solidFill>
                  <a:schemeClr val="bg1">
                    <a:lumMod val="65000"/>
                    <a:lumOff val="35000"/>
                  </a:schemeClr>
                </a:solidFill>
              </a:defRPr>
            </a:lvl7pPr>
            <a:lvl8pPr marL="863446" indent="-431723">
              <a:buFont typeface="+mj-lt"/>
              <a:buAutoNum type="alphaLcPeriod"/>
              <a:defRPr sz="1999">
                <a:solidFill>
                  <a:schemeClr val="bg1">
                    <a:lumMod val="65000"/>
                    <a:lumOff val="35000"/>
                  </a:schemeClr>
                </a:solidFill>
              </a:defRPr>
            </a:lvl8pPr>
            <a:lvl9pPr marL="863446" indent="-431723">
              <a:buFont typeface="+mj-lt"/>
              <a:buAutoNum type="alphaLcPeriod"/>
              <a:defRPr sz="1999">
                <a:solidFill>
                  <a:schemeClr val="bg1">
                    <a:lumMod val="65000"/>
                    <a:lumOff val="35000"/>
                  </a:schemeClr>
                </a:solidFill>
              </a:defRPr>
            </a:lvl9pPr>
          </a:lstStyle>
          <a:p>
            <a:pPr marL="431723" marR="0" lvl="0" indent="-431723" algn="l" defTabSz="91381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 (Highlight in „Pure blue“ (Accent 2))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25063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3" y="1511301"/>
            <a:ext cx="11400249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/>
              <a:t>Presentation title in </a:t>
            </a:r>
            <a:r>
              <a:rPr lang="en-US" dirty="0" err="1"/>
              <a:t>CorpoS</a:t>
            </a:r>
            <a:r>
              <a:rPr lang="en-US" dirty="0"/>
              <a:t> (Body) 10 </a:t>
            </a:r>
            <a:r>
              <a:rPr lang="en-US" dirty="0" err="1"/>
              <a:t>pt</a:t>
            </a:r>
            <a:r>
              <a:rPr lang="en-US" dirty="0"/>
              <a:t> | Department | Dat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98386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5577095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esentation title in </a:t>
            </a:r>
            <a:r>
              <a:rPr lang="en-US" dirty="0" err="1"/>
              <a:t>CorpoS</a:t>
            </a:r>
            <a:r>
              <a:rPr lang="en-US" dirty="0"/>
              <a:t> (Body) 10 </a:t>
            </a:r>
            <a:r>
              <a:rPr lang="en-US" dirty="0" err="1"/>
              <a:t>pt</a:t>
            </a:r>
            <a:r>
              <a:rPr lang="en-US" dirty="0"/>
              <a:t> | Department | Dat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7" y="1511301"/>
            <a:ext cx="5577095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955199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1-22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02518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77094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1" y="1512001"/>
            <a:ext cx="5577771" cy="49142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Presentation title in </a:t>
            </a:r>
            <a:r>
              <a:rPr lang="en-US" dirty="0" err="1"/>
              <a:t>CorpoS</a:t>
            </a:r>
            <a:r>
              <a:rPr lang="en-US" dirty="0"/>
              <a:t> (Body) 10 </a:t>
            </a:r>
            <a:r>
              <a:rPr lang="en-US" dirty="0" err="1"/>
              <a:t>pt</a:t>
            </a:r>
            <a:r>
              <a:rPr lang="en-US" dirty="0"/>
              <a:t> | Department | Dat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11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332302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7709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7709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77094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77094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Presentation title in </a:t>
            </a:r>
            <a:r>
              <a:rPr lang="en-US" dirty="0" err="1"/>
              <a:t>CorpoS</a:t>
            </a:r>
            <a:r>
              <a:rPr lang="en-US" dirty="0"/>
              <a:t> (Body) 10 </a:t>
            </a:r>
            <a:r>
              <a:rPr lang="en-US" dirty="0" err="1"/>
              <a:t>pt</a:t>
            </a:r>
            <a:r>
              <a:rPr lang="en-US" dirty="0"/>
              <a:t> | Department | Dat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16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7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8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21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25057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399538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23594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159542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8999588" y="3810874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9pPr>
          </a:lstStyle>
          <a:p>
            <a:pPr lvl="0"/>
            <a:r>
              <a:rPr lang="en-US" noProof="0" dirty="0"/>
              <a:t>Headline </a:t>
            </a:r>
            <a:r>
              <a:rPr lang="en-US" noProof="0" dirty="0" err="1"/>
              <a:t>CorpoS</a:t>
            </a:r>
            <a:r>
              <a:rPr lang="en-US" noProof="0" dirty="0"/>
              <a:t> 20 pt. </a:t>
            </a:r>
          </a:p>
        </p:txBody>
      </p:sp>
      <p:sp>
        <p:nvSpPr>
          <p:cNvPr id="9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395081" y="4208401"/>
            <a:ext cx="2795744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 userDrawn="1">
            <p:ph type="pic" sz="quarter" idx="17" hasCustomPrompt="1"/>
          </p:nvPr>
        </p:nvSpPr>
        <p:spPr bwMode="gray">
          <a:xfrm>
            <a:off x="6131419" y="4208401"/>
            <a:ext cx="2795744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 userDrawn="1">
            <p:ph type="pic" sz="quarter" idx="18" hasCustomPrompt="1"/>
          </p:nvPr>
        </p:nvSpPr>
        <p:spPr bwMode="gray">
          <a:xfrm>
            <a:off x="3263250" y="4208401"/>
            <a:ext cx="2795744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/>
          </p:cNvSpPr>
          <p:nvPr userDrawn="1">
            <p:ph type="pic" sz="quarter" idx="29" hasCustomPrompt="1"/>
          </p:nvPr>
        </p:nvSpPr>
        <p:spPr bwMode="gray">
          <a:xfrm>
            <a:off x="8999588" y="4208401"/>
            <a:ext cx="2795744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95081" y="1906475"/>
            <a:ext cx="2795744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6131419" y="1906475"/>
            <a:ext cx="2795744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3263250" y="1906475"/>
            <a:ext cx="2795744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/>
          </p:cNvSpPr>
          <p:nvPr userDrawn="1">
            <p:ph type="pic" sz="quarter" idx="28" hasCustomPrompt="1"/>
          </p:nvPr>
        </p:nvSpPr>
        <p:spPr bwMode="gray">
          <a:xfrm>
            <a:off x="8999588" y="1906475"/>
            <a:ext cx="2795744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95082" y="151200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9pPr>
          </a:lstStyle>
          <a:p>
            <a:pPr lvl="0"/>
            <a:r>
              <a:rPr lang="en-US" noProof="0" dirty="0"/>
              <a:t>Headline </a:t>
            </a:r>
            <a:r>
              <a:rPr lang="en-US" noProof="0" dirty="0" err="1"/>
              <a:t>CorpoS</a:t>
            </a:r>
            <a:r>
              <a:rPr lang="en-US" noProof="0" dirty="0"/>
              <a:t> 20 pt. </a:t>
            </a:r>
          </a:p>
        </p:txBody>
      </p:sp>
      <p:sp>
        <p:nvSpPr>
          <p:cNvPr id="16" name="Textplatzhalter 3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3263250" y="151200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9pPr>
          </a:lstStyle>
          <a:p>
            <a:pPr lvl="0"/>
            <a:r>
              <a:rPr lang="en-US" noProof="0" dirty="0"/>
              <a:t>Headline </a:t>
            </a:r>
            <a:r>
              <a:rPr lang="en-US" noProof="0" dirty="0" err="1"/>
              <a:t>CorpoS</a:t>
            </a:r>
            <a:r>
              <a:rPr lang="en-US" noProof="0" dirty="0"/>
              <a:t> 20 pt. </a:t>
            </a:r>
          </a:p>
        </p:txBody>
      </p:sp>
      <p:sp>
        <p:nvSpPr>
          <p:cNvPr id="17" name="Textplatzhalter 3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6131418" y="151200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9pPr>
          </a:lstStyle>
          <a:p>
            <a:pPr lvl="0"/>
            <a:r>
              <a:rPr lang="en-US" noProof="0" dirty="0"/>
              <a:t>Headline </a:t>
            </a:r>
            <a:r>
              <a:rPr lang="en-US" noProof="0" dirty="0" err="1"/>
              <a:t>CorpoS</a:t>
            </a:r>
            <a:r>
              <a:rPr lang="en-US" noProof="0" dirty="0"/>
              <a:t> 20 pt. </a:t>
            </a:r>
          </a:p>
        </p:txBody>
      </p:sp>
      <p:sp>
        <p:nvSpPr>
          <p:cNvPr id="41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8999588" y="151200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9pPr>
          </a:lstStyle>
          <a:p>
            <a:pPr lvl="0"/>
            <a:r>
              <a:rPr lang="en-US" noProof="0" dirty="0"/>
              <a:t>Headline </a:t>
            </a:r>
            <a:r>
              <a:rPr lang="en-US" noProof="0" dirty="0" err="1"/>
              <a:t>CorpoS</a:t>
            </a:r>
            <a:r>
              <a:rPr lang="en-US" noProof="0" dirty="0"/>
              <a:t> 20 pt.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4" name="Textplatzhalter 3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395082" y="3810874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9pPr>
          </a:lstStyle>
          <a:p>
            <a:pPr lvl="0"/>
            <a:r>
              <a:rPr lang="en-US" noProof="0" dirty="0"/>
              <a:t>Headline </a:t>
            </a:r>
            <a:r>
              <a:rPr lang="en-US" noProof="0" dirty="0" err="1"/>
              <a:t>CorpoS</a:t>
            </a:r>
            <a:r>
              <a:rPr lang="en-US" noProof="0" dirty="0"/>
              <a:t> 20 pt. </a:t>
            </a:r>
          </a:p>
        </p:txBody>
      </p:sp>
      <p:sp>
        <p:nvSpPr>
          <p:cNvPr id="18" name="Textplatzhalter 3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3263250" y="3810874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9pPr>
          </a:lstStyle>
          <a:p>
            <a:pPr lvl="0"/>
            <a:r>
              <a:rPr lang="en-US" noProof="0" dirty="0"/>
              <a:t>Headline </a:t>
            </a:r>
            <a:r>
              <a:rPr lang="en-US" noProof="0" dirty="0" err="1"/>
              <a:t>CorpoS</a:t>
            </a:r>
            <a:r>
              <a:rPr lang="en-US" noProof="0" dirty="0"/>
              <a:t> 20 pt. </a:t>
            </a:r>
          </a:p>
        </p:txBody>
      </p:sp>
      <p:sp>
        <p:nvSpPr>
          <p:cNvPr id="19" name="Textplatzhalter 3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6131418" y="3810874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9pPr>
          </a:lstStyle>
          <a:p>
            <a:pPr lvl="0"/>
            <a:r>
              <a:rPr lang="en-US" noProof="0" dirty="0"/>
              <a:t>Headline </a:t>
            </a:r>
            <a:r>
              <a:rPr lang="en-US" noProof="0" dirty="0" err="1"/>
              <a:t>CorpoS</a:t>
            </a:r>
            <a:r>
              <a:rPr lang="en-US" noProof="0" dirty="0"/>
              <a:t> 20 pt. 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43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4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45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6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48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9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451037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white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white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white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white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white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white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white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white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en-US" dirty="0"/>
              <a:t>Presentation title in </a:t>
            </a:r>
            <a:r>
              <a:rPr lang="en-US" dirty="0" err="1"/>
              <a:t>CorpoS</a:t>
            </a:r>
            <a:r>
              <a:rPr lang="en-US" dirty="0"/>
              <a:t> (Body) 10 </a:t>
            </a:r>
            <a:r>
              <a:rPr lang="en-US" dirty="0" err="1"/>
              <a:t>pt</a:t>
            </a:r>
            <a:r>
              <a:rPr lang="en-US" dirty="0"/>
              <a:t> | Department | Date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64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65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66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7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8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69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0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954102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0"/>
            <a:ext cx="6145599" cy="2421734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424429" y="5284428"/>
            <a:ext cx="1908943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7090839">
            <a:off x="7960224" y="280891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087015" y="2581077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81761" y="3144224"/>
            <a:ext cx="2202979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2607142" y="4603313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3540000">
            <a:off x="5858041" y="4897334"/>
            <a:ext cx="1909937" cy="91521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200101" y="2579450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3889278">
            <a:off x="4705918" y="252069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4886" y="538223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82861" y="4580694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8606062" y="3345727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694401" y="4854488"/>
            <a:ext cx="3267222" cy="7929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5794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082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165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5794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5794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5794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8042485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0661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0661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165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2485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082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48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49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50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2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53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49080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 //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4220602" y="1836000"/>
            <a:ext cx="3752845" cy="10800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bg1"/>
                </a:solidFill>
              </a:defRPr>
            </a:lvl1pPr>
            <a:lvl2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2pPr>
            <a:lvl3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3pPr>
            <a:lvl4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bg1"/>
                </a:solidFill>
              </a:defRPr>
            </a:lvl5pPr>
            <a:lvl6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6pPr>
            <a:lvl7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7pPr>
            <a:lvl8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8pPr>
            <a:lvl9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 // Increase List Level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4220602" y="1512000"/>
            <a:ext cx="3752845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headline in </a:t>
            </a:r>
            <a:r>
              <a:rPr lang="en-US" noProof="0" dirty="0" err="1"/>
              <a:t>CorpoS</a:t>
            </a:r>
            <a:r>
              <a:rPr lang="en-US" noProof="0" dirty="0"/>
              <a:t>, 1</a:t>
            </a:r>
            <a:r>
              <a:rPr lang="en-US" dirty="0"/>
              <a:t>5 pt. 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4220602" y="5346001"/>
            <a:ext cx="3752845" cy="10802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bg1"/>
                </a:solidFill>
              </a:defRPr>
            </a:lvl1pPr>
            <a:lvl2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2pPr>
            <a:lvl3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3pPr>
            <a:lvl4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bg1"/>
                </a:solidFill>
              </a:defRPr>
            </a:lvl5pPr>
            <a:lvl6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6pPr>
            <a:lvl7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7pPr>
            <a:lvl8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8pPr>
            <a:lvl9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 // Increase List Level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4220602" y="5022000"/>
            <a:ext cx="3752845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headline in </a:t>
            </a:r>
            <a:r>
              <a:rPr lang="en-US" noProof="0" dirty="0" err="1"/>
              <a:t>CorpoS</a:t>
            </a:r>
            <a:r>
              <a:rPr lang="en-US" noProof="0" dirty="0"/>
              <a:t>, 1</a:t>
            </a:r>
            <a:r>
              <a:rPr lang="en-US" dirty="0"/>
              <a:t>5 pt. 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5794" y="1836001"/>
            <a:ext cx="3752845" cy="20880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bg1"/>
                </a:solidFill>
              </a:defRPr>
            </a:lvl1pPr>
            <a:lvl2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2pPr>
            <a:lvl3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3pPr>
            <a:lvl4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bg1"/>
                </a:solidFill>
              </a:defRPr>
            </a:lvl5pPr>
            <a:lvl6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6pPr>
            <a:lvl7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7pPr>
            <a:lvl8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8pPr>
            <a:lvl9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 // Increase List Level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4" y="1512000"/>
            <a:ext cx="3752845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headline in </a:t>
            </a:r>
            <a:r>
              <a:rPr lang="en-US" noProof="0" dirty="0" err="1"/>
              <a:t>CorpoS</a:t>
            </a:r>
            <a:r>
              <a:rPr lang="en-US" noProof="0" dirty="0"/>
              <a:t>, 1</a:t>
            </a:r>
            <a:r>
              <a:rPr lang="en-US" dirty="0"/>
              <a:t>5 pt.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395794" y="4320000"/>
            <a:ext cx="3752845" cy="21062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bg1"/>
                </a:solidFill>
              </a:defRPr>
            </a:lvl1pPr>
            <a:lvl2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2pPr>
            <a:lvl3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3pPr>
            <a:lvl4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bg1"/>
                </a:solidFill>
              </a:defRPr>
            </a:lvl5pPr>
            <a:lvl6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6pPr>
            <a:lvl7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7pPr>
            <a:lvl8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8pPr>
            <a:lvl9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 // Increase List Level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395794" y="3996000"/>
            <a:ext cx="3752845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headline in </a:t>
            </a:r>
            <a:r>
              <a:rPr lang="en-US" noProof="0" dirty="0" err="1"/>
              <a:t>CorpoS</a:t>
            </a:r>
            <a:r>
              <a:rPr lang="en-US" noProof="0" dirty="0"/>
              <a:t>, 1</a:t>
            </a:r>
            <a:r>
              <a:rPr lang="en-US" dirty="0"/>
              <a:t>5 pt. </a:t>
            </a:r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2988100"/>
            <a:ext cx="3752845" cy="19620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4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8042487" y="4950100"/>
            <a:ext cx="3752845" cy="14761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bg1"/>
                </a:solidFill>
              </a:defRPr>
            </a:lvl1pPr>
            <a:lvl2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2pPr>
            <a:lvl3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3pPr>
            <a:lvl4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bg1"/>
                </a:solidFill>
              </a:defRPr>
            </a:lvl5pPr>
            <a:lvl6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6pPr>
            <a:lvl7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7pPr>
            <a:lvl8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8pPr>
            <a:lvl9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 // Increase List Level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042487" y="4626100"/>
            <a:ext cx="3752845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headline in </a:t>
            </a:r>
            <a:r>
              <a:rPr lang="en-US" noProof="0" dirty="0" err="1"/>
              <a:t>CorpoS</a:t>
            </a:r>
            <a:r>
              <a:rPr lang="en-US" noProof="0" dirty="0"/>
              <a:t>, 1</a:t>
            </a:r>
            <a:r>
              <a:rPr lang="en-US" dirty="0"/>
              <a:t>5 pt. 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8042487" y="1836000"/>
            <a:ext cx="3752845" cy="11521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bg1"/>
                </a:solidFill>
              </a:defRPr>
            </a:lvl1pPr>
            <a:lvl2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2pPr>
            <a:lvl3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3pPr>
            <a:lvl4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bg1"/>
                </a:solidFill>
              </a:defRPr>
            </a:lvl5pPr>
            <a:lvl6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6pPr>
            <a:lvl7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7pPr>
            <a:lvl8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8pPr>
            <a:lvl9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 // Increase List Level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8042487" y="1512000"/>
            <a:ext cx="3752845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headline in </a:t>
            </a:r>
            <a:r>
              <a:rPr lang="en-US" noProof="0" dirty="0" err="1"/>
              <a:t>CorpoS</a:t>
            </a:r>
            <a:r>
              <a:rPr lang="en-US" noProof="0" dirty="0"/>
              <a:t>, 1</a:t>
            </a:r>
            <a:r>
              <a:rPr lang="en-US" dirty="0"/>
              <a:t>5 pt. 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9" hasCustomPrompt="1"/>
          </p:nvPr>
        </p:nvSpPr>
        <p:spPr bwMode="gray">
          <a:xfrm>
            <a:off x="8042487" y="3384001"/>
            <a:ext cx="3752845" cy="11700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bg1"/>
                </a:solidFill>
              </a:defRPr>
            </a:lvl1pPr>
            <a:lvl2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2pPr>
            <a:lvl3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3pPr>
            <a:lvl4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bg1"/>
                </a:solidFill>
              </a:defRPr>
            </a:lvl5pPr>
            <a:lvl6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6pPr>
            <a:lvl7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7pPr>
            <a:lvl8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8pPr>
            <a:lvl9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 // Increase List Level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80" hasCustomPrompt="1"/>
          </p:nvPr>
        </p:nvSpPr>
        <p:spPr bwMode="gray">
          <a:xfrm>
            <a:off x="8042487" y="3060000"/>
            <a:ext cx="3752845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headline in </a:t>
            </a:r>
            <a:r>
              <a:rPr lang="en-US" noProof="0" dirty="0" err="1"/>
              <a:t>CorpoS</a:t>
            </a:r>
            <a:r>
              <a:rPr lang="en-US" noProof="0" dirty="0"/>
              <a:t>, 1</a:t>
            </a:r>
            <a:r>
              <a:rPr lang="en-US" dirty="0"/>
              <a:t>5 pt.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81"/>
          </p:nvPr>
        </p:nvSpPr>
        <p:spPr/>
        <p:txBody>
          <a:bodyPr/>
          <a:lstStyle/>
          <a:p>
            <a:r>
              <a:rPr lang="en-US" dirty="0"/>
              <a:t>Presentation title in </a:t>
            </a:r>
            <a:r>
              <a:rPr lang="en-US" dirty="0" err="1"/>
              <a:t>CorpoS</a:t>
            </a:r>
            <a:r>
              <a:rPr lang="en-US" dirty="0"/>
              <a:t> (Body) 10 </a:t>
            </a:r>
            <a:r>
              <a:rPr lang="en-US" dirty="0" err="1"/>
              <a:t>pt</a:t>
            </a:r>
            <a:r>
              <a:rPr lang="en-US" dirty="0"/>
              <a:t> | Department | Dat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8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38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39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40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4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46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574683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473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/>
              <a:t>Presentation title in </a:t>
            </a:r>
            <a:r>
              <a:rPr lang="en-US" dirty="0" err="1"/>
              <a:t>CorpoS</a:t>
            </a:r>
            <a:r>
              <a:rPr lang="en-US" dirty="0"/>
              <a:t> (Body) 10 </a:t>
            </a:r>
            <a:r>
              <a:rPr lang="en-US" dirty="0" err="1"/>
              <a:t>pt</a:t>
            </a:r>
            <a:r>
              <a:rPr lang="en-US" dirty="0"/>
              <a:t> | Department | Dat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17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8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9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25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197593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35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36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37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9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40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782724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ko-KR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1-22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43758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23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2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25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28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828664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6" y="1512000"/>
            <a:ext cx="566344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6" y="4044227"/>
            <a:ext cx="566344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501248"/>
            <a:ext cx="566344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6030980"/>
            <a:ext cx="566344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344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344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344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344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25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26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27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37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409278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3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3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34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44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26990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 eaLnBrk="1">
              <a:lnSpc>
                <a:spcPct val="108000"/>
              </a:lnSpc>
              <a:spcAft>
                <a:spcPts val="1007"/>
              </a:spcAft>
            </a:pPr>
            <a:endParaRPr lang="en-US" sz="1999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8" y="1511768"/>
            <a:ext cx="1837845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4" y="1511769"/>
            <a:ext cx="1841293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7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2307265" y="2502758"/>
            <a:ext cx="1841462" cy="921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2307265" y="3495677"/>
            <a:ext cx="1839421" cy="91906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9" name="Bildplatzhalter 8"/>
          <p:cNvSpPr>
            <a:spLocks noGrp="1"/>
          </p:cNvSpPr>
          <p:nvPr userDrawn="1">
            <p:ph type="pic" sz="quarter" idx="17" hasCustomPrompt="1"/>
          </p:nvPr>
        </p:nvSpPr>
        <p:spPr bwMode="gray">
          <a:xfrm>
            <a:off x="396678" y="4486748"/>
            <a:ext cx="2795407" cy="920062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0" name="Bildplatzhalter 8"/>
          <p:cNvSpPr>
            <a:spLocks noGrp="1"/>
          </p:cNvSpPr>
          <p:nvPr userDrawn="1">
            <p:ph type="pic" sz="quarter" idx="18" hasCustomPrompt="1"/>
          </p:nvPr>
        </p:nvSpPr>
        <p:spPr bwMode="gray">
          <a:xfrm>
            <a:off x="3263418" y="4486748"/>
            <a:ext cx="885307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1" name="Bildplatzhalter 8"/>
          <p:cNvSpPr>
            <a:spLocks noGrp="1"/>
          </p:cNvSpPr>
          <p:nvPr userDrawn="1">
            <p:ph type="pic" sz="quarter" idx="19" hasCustomPrompt="1"/>
          </p:nvPr>
        </p:nvSpPr>
        <p:spPr bwMode="gray">
          <a:xfrm>
            <a:off x="396678" y="3495678"/>
            <a:ext cx="883715" cy="91906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2" name="Bildplatzhalter 8"/>
          <p:cNvSpPr>
            <a:spLocks noGrp="1"/>
          </p:cNvSpPr>
          <p:nvPr userDrawn="1">
            <p:ph type="pic" sz="quarter" idx="20" hasCustomPrompt="1"/>
          </p:nvPr>
        </p:nvSpPr>
        <p:spPr bwMode="gray">
          <a:xfrm>
            <a:off x="1352354" y="3495678"/>
            <a:ext cx="882169" cy="91906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4" y="3495679"/>
            <a:ext cx="1838642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6" name="Bildplatzhalter 8"/>
          <p:cNvSpPr>
            <a:spLocks noGrp="1"/>
          </p:cNvSpPr>
          <p:nvPr userDrawn="1">
            <p:ph type="pic" sz="quarter" idx="24" hasCustomPrompt="1"/>
          </p:nvPr>
        </p:nvSpPr>
        <p:spPr bwMode="gray">
          <a:xfrm>
            <a:off x="5175740" y="1511769"/>
            <a:ext cx="2795268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7" name="Bildplatzhalter 8"/>
          <p:cNvSpPr>
            <a:spLocks noGrp="1"/>
          </p:cNvSpPr>
          <p:nvPr userDrawn="1">
            <p:ph type="pic" sz="quarter" idx="25" hasCustomPrompt="1"/>
          </p:nvPr>
        </p:nvSpPr>
        <p:spPr bwMode="gray">
          <a:xfrm>
            <a:off x="6130958" y="2503830"/>
            <a:ext cx="1840052" cy="92052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8" name="Bildplatzhalter 8"/>
          <p:cNvSpPr>
            <a:spLocks noGrp="1"/>
          </p:cNvSpPr>
          <p:nvPr userDrawn="1">
            <p:ph type="pic" sz="quarter" idx="26" hasCustomPrompt="1"/>
          </p:nvPr>
        </p:nvSpPr>
        <p:spPr bwMode="gray">
          <a:xfrm>
            <a:off x="6130957" y="3495679"/>
            <a:ext cx="1840052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7087434" y="4486748"/>
            <a:ext cx="883575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0" name="Bildplatzhalter 8"/>
          <p:cNvSpPr>
            <a:spLocks noGrp="1"/>
          </p:cNvSpPr>
          <p:nvPr userDrawn="1">
            <p:ph type="pic" sz="quarter" idx="28" hasCustomPrompt="1"/>
          </p:nvPr>
        </p:nvSpPr>
        <p:spPr bwMode="gray">
          <a:xfrm>
            <a:off x="5175741" y="4486748"/>
            <a:ext cx="1839731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 userDrawn="1">
            <p:ph type="pic" sz="quarter" idx="29" hasCustomPrompt="1"/>
          </p:nvPr>
        </p:nvSpPr>
        <p:spPr bwMode="gray">
          <a:xfrm>
            <a:off x="4220205" y="4486748"/>
            <a:ext cx="883574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2" name="Bildplatzhalter 8"/>
          <p:cNvSpPr>
            <a:spLocks noGrp="1"/>
          </p:cNvSpPr>
          <p:nvPr userDrawn="1">
            <p:ph type="pic" sz="quarter" idx="30" hasCustomPrompt="1"/>
          </p:nvPr>
        </p:nvSpPr>
        <p:spPr bwMode="gray">
          <a:xfrm>
            <a:off x="4220205" y="1511767"/>
            <a:ext cx="883574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4" name="Bildplatzhalter 8"/>
          <p:cNvSpPr>
            <a:spLocks noGrp="1"/>
          </p:cNvSpPr>
          <p:nvPr userDrawn="1">
            <p:ph type="pic" sz="quarter" idx="32" hasCustomPrompt="1"/>
          </p:nvPr>
        </p:nvSpPr>
        <p:spPr bwMode="gray">
          <a:xfrm>
            <a:off x="5175740" y="2503829"/>
            <a:ext cx="883106" cy="92052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2796369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10910819" y="1511768"/>
            <a:ext cx="884513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4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grpSp>
        <p:nvGrpSpPr>
          <p:cNvPr id="97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00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01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04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5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99236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 eaLnBrk="1">
              <a:lnSpc>
                <a:spcPct val="108000"/>
              </a:lnSpc>
              <a:spcAft>
                <a:spcPts val="1007"/>
              </a:spcAft>
            </a:pPr>
            <a:endParaRPr lang="en-US" sz="1999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8" y="1511768"/>
            <a:ext cx="1837845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4" y="1511769"/>
            <a:ext cx="1841293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7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2307265" y="2502758"/>
            <a:ext cx="1841462" cy="921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78"/>
            <a:ext cx="3751603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5" y="2503829"/>
            <a:ext cx="2795267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7" name="Bildplatzhalter 8"/>
          <p:cNvSpPr>
            <a:spLocks noGrp="1"/>
          </p:cNvSpPr>
          <p:nvPr userDrawn="1">
            <p:ph type="pic" sz="quarter" idx="25" hasCustomPrompt="1"/>
          </p:nvPr>
        </p:nvSpPr>
        <p:spPr bwMode="gray">
          <a:xfrm>
            <a:off x="7087435" y="2503830"/>
            <a:ext cx="883576" cy="920529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8" name="Bildplatzhalter 8"/>
          <p:cNvSpPr>
            <a:spLocks noGrp="1"/>
          </p:cNvSpPr>
          <p:nvPr userDrawn="1">
            <p:ph type="pic" sz="quarter" idx="26" hasCustomPrompt="1"/>
          </p:nvPr>
        </p:nvSpPr>
        <p:spPr bwMode="gray">
          <a:xfrm>
            <a:off x="7087433" y="3495679"/>
            <a:ext cx="883576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005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3864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8" y="1511768"/>
            <a:ext cx="1841461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3864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005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3864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grpSp>
        <p:nvGrpSpPr>
          <p:cNvPr id="73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79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80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1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2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83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4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74283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 eaLnBrk="1">
              <a:lnSpc>
                <a:spcPct val="108000"/>
              </a:lnSpc>
              <a:spcAft>
                <a:spcPts val="1007"/>
              </a:spcAft>
            </a:pPr>
            <a:endParaRPr lang="en-US" sz="1999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8" y="1511768"/>
            <a:ext cx="1837845" cy="191259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4" y="1511768"/>
            <a:ext cx="1841293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78"/>
            <a:ext cx="3751603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4" y="2503829"/>
            <a:ext cx="3750539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005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3864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8" y="1511768"/>
            <a:ext cx="1841461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3864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005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3864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grpSp>
        <p:nvGrpSpPr>
          <p:cNvPr id="7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7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77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9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0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81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2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938705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 eaLnBrk="1">
              <a:lnSpc>
                <a:spcPct val="108000"/>
              </a:lnSpc>
              <a:spcAft>
                <a:spcPts val="1007"/>
              </a:spcAft>
            </a:pPr>
            <a:endParaRPr lang="en-US" sz="1999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8" y="1511768"/>
            <a:ext cx="1837845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4" y="1511768"/>
            <a:ext cx="1841293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78"/>
            <a:ext cx="3751603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0052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38642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8" y="1511768"/>
            <a:ext cx="1841461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3864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0706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grpSp>
        <p:nvGrpSpPr>
          <p:cNvPr id="7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7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74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7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9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80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1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597381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Regieanweisungen"/>
          <p:cNvGrpSpPr/>
          <p:nvPr userDrawn="1"/>
        </p:nvGrpSpPr>
        <p:grpSpPr>
          <a:xfrm>
            <a:off x="-2086913" y="-468001"/>
            <a:ext cx="14745120" cy="7794000"/>
            <a:chOff x="-2088000" y="-468001"/>
            <a:chExt cx="14752800" cy="7794000"/>
          </a:xfrm>
        </p:grpSpPr>
        <p:grpSp>
          <p:nvGrpSpPr>
            <p:cNvPr id="70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115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111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3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112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84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74" name="Entwurfsvorlagen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5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cxnSp>
            <p:nvCxnSpPr>
              <p:cNvPr id="76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lternating between white and black slide layouts 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sign // Theme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(Right click: </a:t>
                </a: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All Slides 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Selected Slide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)</a:t>
                </a:r>
              </a:p>
            </p:txBody>
          </p:sp>
          <p:pic>
            <p:nvPicPr>
              <p:cNvPr id="80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1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2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Increase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  <p:sp>
            <p:nvSpPr>
              <p:cNvPr id="83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</p:grpSp>
      </p:grpSp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799887" y="4585642"/>
            <a:ext cx="1908943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44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9732274">
            <a:off x="7732373" y="2229088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45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286672" y="1023608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46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32286" y="2044006"/>
            <a:ext cx="2202979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47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984753" y="5929819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49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020175" y="1163907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50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1425296">
            <a:off x="3305709" y="3447990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51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4886" y="5510582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52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70811" y="4464855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53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7809525" y="3424709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54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565640" y="4964651"/>
            <a:ext cx="3267222" cy="7929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48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20824625">
            <a:off x="8643411" y="765257"/>
            <a:ext cx="1908943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85" name="Gruppieren 84"/>
          <p:cNvGrpSpPr/>
          <p:nvPr userDrawn="1"/>
        </p:nvGrpSpPr>
        <p:grpSpPr>
          <a:xfrm>
            <a:off x="432550" y="-468001"/>
            <a:ext cx="11349121" cy="360001"/>
            <a:chOff x="432775" y="-468001"/>
            <a:chExt cx="11355032" cy="360001"/>
          </a:xfrm>
        </p:grpSpPr>
        <p:sp>
          <p:nvSpPr>
            <p:cNvPr id="86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87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ed areas for stamps and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77817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67" name="Regieanweisungen"/>
          <p:cNvGrpSpPr/>
          <p:nvPr userDrawn="1"/>
        </p:nvGrpSpPr>
        <p:grpSpPr>
          <a:xfrm>
            <a:off x="-2086913" y="-468001"/>
            <a:ext cx="14745120" cy="7794000"/>
            <a:chOff x="-2088000" y="-468001"/>
            <a:chExt cx="14752800" cy="7794000"/>
          </a:xfrm>
        </p:grpSpPr>
        <p:grpSp>
          <p:nvGrpSpPr>
            <p:cNvPr id="68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94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90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3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91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87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77" name="Entwurfsvorlag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8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cxnSp>
            <p:nvCxnSpPr>
              <p:cNvPr id="79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2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lternating between white and black slide layouts 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sign // Theme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(Right click: </a:t>
                </a: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All Slides 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Selected Slide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)</a:t>
                </a:r>
              </a:p>
            </p:txBody>
          </p:sp>
          <p:pic>
            <p:nvPicPr>
              <p:cNvPr id="83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4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5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Increase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  <p:sp>
            <p:nvSpPr>
              <p:cNvPr id="86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</p:grpSp>
      </p:grpSp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4619701"/>
            <a:ext cx="6059761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5505133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3" y="1512001"/>
            <a:ext cx="5505133" cy="29493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3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0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05" name="Einpass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6" name="Bildtools // Format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08" name="Beispielbild"/>
            <p:cNvPicPr>
              <a:picLocks noChangeAspect="1" noChangeArrowheads="1"/>
            </p:cNvPicPr>
            <p:nvPr userDrawn="1"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9" name="Zuschneiden"/>
            <p:cNvPicPr>
              <a:picLocks noChangeAspect="1" noChangeArrowheads="1"/>
            </p:cNvPicPr>
            <p:nvPr userDrawn="1"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6" name="Gruppieren 95"/>
          <p:cNvGrpSpPr/>
          <p:nvPr userDrawn="1"/>
        </p:nvGrpSpPr>
        <p:grpSpPr>
          <a:xfrm>
            <a:off x="432550" y="-468001"/>
            <a:ext cx="11349121" cy="360001"/>
            <a:chOff x="432775" y="-468001"/>
            <a:chExt cx="11355032" cy="360001"/>
          </a:xfrm>
        </p:grpSpPr>
        <p:sp>
          <p:nvSpPr>
            <p:cNvPr id="97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98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ed areas for stamps and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8044222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Regieanweisungen"/>
          <p:cNvGrpSpPr/>
          <p:nvPr userDrawn="1"/>
        </p:nvGrpSpPr>
        <p:grpSpPr>
          <a:xfrm>
            <a:off x="-2086913" y="-468001"/>
            <a:ext cx="14745120" cy="7794000"/>
            <a:chOff x="-2088000" y="-468001"/>
            <a:chExt cx="14752800" cy="7794000"/>
          </a:xfrm>
        </p:grpSpPr>
        <p:grpSp>
          <p:nvGrpSpPr>
            <p:cNvPr id="66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93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89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3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90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86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76" name="Entwurfsvorlagen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7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cxnSp>
            <p:nvCxnSpPr>
              <p:cNvPr id="78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lternating between white and black slide layouts 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sign // Theme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(Right click: </a:t>
                </a: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All Slides 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Selected Slide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)</a:t>
                </a:r>
              </a:p>
            </p:txBody>
          </p:sp>
          <p:pic>
            <p:nvPicPr>
              <p:cNvPr id="82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3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4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Increase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  <p:sp>
            <p:nvSpPr>
              <p:cNvPr id="85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</p:grpSp>
      </p:grpSp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0"/>
            <a:ext cx="6059762" cy="4548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4619701"/>
            <a:ext cx="6059761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5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96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97" name="Einpass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8" name="Bildtools // Format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9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00" name="Beispielbild"/>
            <p:cNvPicPr>
              <a:picLocks noChangeAspect="1" noChangeArrowheads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1" name="Zuschneid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422147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1-22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058150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Regieanweisungen"/>
          <p:cNvGrpSpPr/>
          <p:nvPr userDrawn="1"/>
        </p:nvGrpSpPr>
        <p:grpSpPr>
          <a:xfrm>
            <a:off x="-2086913" y="-468001"/>
            <a:ext cx="14745120" cy="7794000"/>
            <a:chOff x="-2088000" y="-468001"/>
            <a:chExt cx="14752800" cy="7794000"/>
          </a:xfrm>
        </p:grpSpPr>
        <p:grpSp>
          <p:nvGrpSpPr>
            <p:cNvPr id="63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108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88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3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89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85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75" name="Entwurfsvorlagen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cxnSp>
            <p:nvCxnSpPr>
              <p:cNvPr id="77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lternating between white and black slide layouts 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sign // Theme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(Right click: </a:t>
                </a: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All Slides 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Selected Slide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)</a:t>
                </a:r>
              </a:p>
            </p:txBody>
          </p:sp>
          <p:pic>
            <p:nvPicPr>
              <p:cNvPr id="81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2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3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Increase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  <p:sp>
            <p:nvSpPr>
              <p:cNvPr id="84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</p:grpSp>
      </p:grpSp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6131983" y="0"/>
            <a:ext cx="6060019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6132758" y="4619700"/>
            <a:ext cx="605924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0" y="-1"/>
            <a:ext cx="2993899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066120" y="0"/>
            <a:ext cx="299389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65861" y="1155601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065861" y="4619700"/>
            <a:ext cx="2993383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10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11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12" name="Einpass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" name="Bildtools // Format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4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15" name="Beispielbild"/>
            <p:cNvPicPr>
              <a:picLocks noChangeAspect="1" noChangeArrowheads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6" name="Zuschneid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7" name="Gruppieren 116"/>
          <p:cNvGrpSpPr/>
          <p:nvPr userDrawn="1"/>
        </p:nvGrpSpPr>
        <p:grpSpPr>
          <a:xfrm>
            <a:off x="432550" y="-468001"/>
            <a:ext cx="11349121" cy="360001"/>
            <a:chOff x="432775" y="-468001"/>
            <a:chExt cx="11355032" cy="360001"/>
          </a:xfrm>
        </p:grpSpPr>
        <p:sp>
          <p:nvSpPr>
            <p:cNvPr id="118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19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ed areas for stamps and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896971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Regieanweisungen"/>
          <p:cNvGrpSpPr/>
          <p:nvPr userDrawn="1"/>
        </p:nvGrpSpPr>
        <p:grpSpPr>
          <a:xfrm>
            <a:off x="-2086913" y="-468001"/>
            <a:ext cx="14745120" cy="7794000"/>
            <a:chOff x="-2088000" y="-468001"/>
            <a:chExt cx="14752800" cy="7794000"/>
          </a:xfrm>
        </p:grpSpPr>
        <p:grpSp>
          <p:nvGrpSpPr>
            <p:cNvPr id="63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108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88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3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89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85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75" name="Entwurfsvorlagen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cxnSp>
            <p:nvCxnSpPr>
              <p:cNvPr id="77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lternating between white and black slide layouts 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sign // Theme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(Right click: </a:t>
                </a: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All Slides 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Selected Slide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)</a:t>
                </a:r>
              </a:p>
            </p:txBody>
          </p:sp>
          <p:pic>
            <p:nvPicPr>
              <p:cNvPr id="81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2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3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Increase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  <p:sp>
            <p:nvSpPr>
              <p:cNvPr id="84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</p:grpSp>
      </p:grpSp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59244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5924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10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11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12" name="Einpass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" name="Bildtools // Format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4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15" name="Beispielbild"/>
            <p:cNvPicPr>
              <a:picLocks noChangeAspect="1" noChangeArrowheads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6" name="Zuschneid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7" name="Gruppieren 116"/>
          <p:cNvGrpSpPr/>
          <p:nvPr userDrawn="1"/>
        </p:nvGrpSpPr>
        <p:grpSpPr>
          <a:xfrm>
            <a:off x="432550" y="-468001"/>
            <a:ext cx="11349121" cy="360001"/>
            <a:chOff x="432775" y="-468001"/>
            <a:chExt cx="11355032" cy="360001"/>
          </a:xfrm>
        </p:grpSpPr>
        <p:sp>
          <p:nvSpPr>
            <p:cNvPr id="118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19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ed areas for stamps and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57735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Regieanweisungen"/>
          <p:cNvGrpSpPr/>
          <p:nvPr userDrawn="1"/>
        </p:nvGrpSpPr>
        <p:grpSpPr>
          <a:xfrm>
            <a:off x="-2086913" y="-468001"/>
            <a:ext cx="14745120" cy="7794000"/>
            <a:chOff x="-2088000" y="-468001"/>
            <a:chExt cx="14752800" cy="7794000"/>
          </a:xfrm>
        </p:grpSpPr>
        <p:grpSp>
          <p:nvGrpSpPr>
            <p:cNvPr id="65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109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90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3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91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87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77" name="Entwurfsvorlagen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8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cxnSp>
            <p:nvCxnSpPr>
              <p:cNvPr id="79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2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lternating between white and black slide layouts 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sign // Theme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(Right click: </a:t>
                </a: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All Slides 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Selected Slide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)</a:t>
                </a:r>
              </a:p>
            </p:txBody>
          </p:sp>
          <p:pic>
            <p:nvPicPr>
              <p:cNvPr id="83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4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5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Increase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  <p:sp>
            <p:nvSpPr>
              <p:cNvPr id="86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</p:grpSp>
      </p:grpSp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59244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7" y="0"/>
            <a:ext cx="2993125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11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1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13" name="Einpass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4" name="Bildtools // Format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5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16" name="Beispielbild"/>
            <p:cNvPicPr>
              <a:picLocks noChangeAspect="1" noChangeArrowheads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7" name="Zuschneid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8" name="Gruppieren 117"/>
          <p:cNvGrpSpPr/>
          <p:nvPr userDrawn="1"/>
        </p:nvGrpSpPr>
        <p:grpSpPr>
          <a:xfrm>
            <a:off x="432550" y="-468001"/>
            <a:ext cx="11349121" cy="360001"/>
            <a:chOff x="432775" y="-468001"/>
            <a:chExt cx="11355032" cy="360001"/>
          </a:xfrm>
        </p:grpSpPr>
        <p:sp>
          <p:nvSpPr>
            <p:cNvPr id="119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20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ed areas for stamps and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418003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86913" y="-468001"/>
            <a:ext cx="14745120" cy="7794000"/>
            <a:chOff x="-2088000" y="-468001"/>
            <a:chExt cx="14752800" cy="7794000"/>
          </a:xfrm>
        </p:grpSpPr>
        <p:grpSp>
          <p:nvGrpSpPr>
            <p:cNvPr id="32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77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73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3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74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70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36" name="Entwurfsvorlag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cxnSp>
            <p:nvCxnSpPr>
              <p:cNvPr id="38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lternating between white and black slide layouts 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sign // Theme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(Right click: </a:t>
                </a: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All Slides 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Selected Slide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)</a:t>
                </a:r>
              </a:p>
            </p:txBody>
          </p:sp>
          <p:pic>
            <p:nvPicPr>
              <p:cNvPr id="66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7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8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Increase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  <p:sp>
            <p:nvSpPr>
              <p:cNvPr id="69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</p:grpSp>
      </p:grpSp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2" name="Gruppieren 41"/>
          <p:cNvGrpSpPr/>
          <p:nvPr userDrawn="1"/>
        </p:nvGrpSpPr>
        <p:grpSpPr>
          <a:xfrm>
            <a:off x="432550" y="-468001"/>
            <a:ext cx="11349121" cy="360001"/>
            <a:chOff x="432775" y="-468001"/>
            <a:chExt cx="11355032" cy="360001"/>
          </a:xfrm>
        </p:grpSpPr>
        <p:sp>
          <p:nvSpPr>
            <p:cNvPr id="43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44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ed areas for stamps and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6559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1-22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85479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1-22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602031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1-22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54178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ko-KR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1-22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339841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ko-KR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1-22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004085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35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oleObject" Target="../embeddings/oleObject1.bin"/><Relationship Id="rId38" Type="http://schemas.openxmlformats.org/officeDocument/2006/relationships/image" Target="../media/image5.emf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29" Type="http://schemas.openxmlformats.org/officeDocument/2006/relationships/slideLayout" Target="../slideLayouts/slideLayout4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tags" Target="../tags/tag2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theme" Target="../theme/theme2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A4A5DF-A2AF-4AEF-9549-2DAC498859B4}" type="datetimeFigureOut">
              <a:rPr lang="ko-KR" altLang="en-US" smtClean="0"/>
              <a:t>2024-01-22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12005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3" r:id="rId12"/>
    <p:sldLayoutId id="2147483694" r:id="rId13"/>
    <p:sldLayoutId id="2147483695" r:id="rId1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216" imgH="216" progId="TCLayout.ActiveDocument.1">
                  <p:embed/>
                </p:oleObj>
              </mc:Choice>
              <mc:Fallback>
                <p:oleObj name="think-cell Slide" r:id="rId33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31" name="Regieanweisungen"/>
          <p:cNvGrpSpPr/>
          <p:nvPr/>
        </p:nvGrpSpPr>
        <p:grpSpPr>
          <a:xfrm>
            <a:off x="-2086913" y="-468001"/>
            <a:ext cx="14745120" cy="7794000"/>
            <a:chOff x="-2088000" y="-468001"/>
            <a:chExt cx="14752800" cy="7794000"/>
          </a:xfrm>
        </p:grpSpPr>
        <p:grpSp>
          <p:nvGrpSpPr>
            <p:cNvPr id="32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53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49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3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50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46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36" name="Entwurfsvorlagen"/>
              <p:cNvPicPr>
                <a:picLocks noChangeAspect="1" noChangeArrowheads="1"/>
              </p:cNvPicPr>
              <p:nvPr userDrawn="1"/>
            </p:nvPicPr>
            <p:blipFill>
              <a:blip r:embed="rId3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cxnSp>
            <p:nvCxnSpPr>
              <p:cNvPr id="38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lternating between white and black slide layouts 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sign // Theme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(Right click: </a:t>
                </a: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All Slides 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Selected Slide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)</a:t>
                </a:r>
              </a:p>
            </p:txBody>
          </p:sp>
          <p:pic>
            <p:nvPicPr>
              <p:cNvPr id="42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3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3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4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Increase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  <p:sp>
            <p:nvSpPr>
              <p:cNvPr id="45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</p:grp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white">
          <a:xfrm>
            <a:off x="395084" y="368300"/>
            <a:ext cx="11400249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white">
          <a:xfrm>
            <a:off x="395082" y="1511300"/>
            <a:ext cx="11400250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66" name="Wortmarke Mercedes-Benz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795" y="6620400"/>
            <a:ext cx="1187382" cy="136800"/>
          </a:xfrm>
          <a:prstGeom prst="rect">
            <a:avLst/>
          </a:prstGeom>
        </p:spPr>
      </p:pic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 bwMode="white">
          <a:xfrm>
            <a:off x="3576537" y="6552000"/>
            <a:ext cx="7843915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 dirty="0"/>
              <a:t>Presentation title in </a:t>
            </a:r>
            <a:r>
              <a:rPr lang="en-US" dirty="0" err="1"/>
              <a:t>CorpoS</a:t>
            </a:r>
            <a:r>
              <a:rPr lang="en-US" dirty="0"/>
              <a:t> (Body) 10 </a:t>
            </a:r>
            <a:r>
              <a:rPr lang="en-US" dirty="0" err="1"/>
              <a:t>pt</a:t>
            </a:r>
            <a:r>
              <a:rPr lang="en-US" dirty="0"/>
              <a:t> | Department | Date</a:t>
            </a: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 bwMode="white">
          <a:xfrm>
            <a:off x="11794659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55" name="Gruppieren 54"/>
          <p:cNvGrpSpPr/>
          <p:nvPr/>
        </p:nvGrpSpPr>
        <p:grpSpPr>
          <a:xfrm>
            <a:off x="432550" y="-468001"/>
            <a:ext cx="11349121" cy="360001"/>
            <a:chOff x="432775" y="-468001"/>
            <a:chExt cx="11355032" cy="360001"/>
          </a:xfrm>
        </p:grpSpPr>
        <p:sp>
          <p:nvSpPr>
            <p:cNvPr id="56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57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ed areas for stamps and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167172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</p:sldLayoutIdLst>
  <p:hf hd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3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4.png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5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4.jp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4.jp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>
            <a:extLst>
              <a:ext uri="{FF2B5EF4-FFF2-40B4-BE49-F238E27FC236}">
                <a16:creationId xmlns:a16="http://schemas.microsoft.com/office/drawing/2014/main" id="{AD293409-640A-0BB6-36D5-2189A5A1053F}"/>
              </a:ext>
            </a:extLst>
          </p:cNvPr>
          <p:cNvSpPr/>
          <p:nvPr/>
        </p:nvSpPr>
        <p:spPr>
          <a:xfrm>
            <a:off x="707571" y="1545771"/>
            <a:ext cx="10868591" cy="173549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" name="Text Box 177"/>
          <p:cNvSpPr txBox="1">
            <a:spLocks noChangeArrowheads="1"/>
          </p:cNvSpPr>
          <p:nvPr/>
        </p:nvSpPr>
        <p:spPr bwMode="auto">
          <a:xfrm>
            <a:off x="615837" y="1301655"/>
            <a:ext cx="10960325" cy="1979613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noFill/>
            <a:miter lim="800000"/>
            <a:headEnd/>
            <a:tailEnd/>
          </a:ln>
        </p:spPr>
        <p:txBody>
          <a:bodyPr lIns="49846" rIns="49846" anchor="ctr" anchorCtr="1"/>
          <a:lstStyle>
            <a:defPPr>
              <a:defRPr lang="en-US"/>
            </a:defPPr>
            <a:lvl1pPr marL="0" algn="ctr" defTabSz="914400" eaLnBrk="1" latinLnBrk="1" hangingPunct="1">
              <a:lnSpc>
                <a:spcPct val="160000"/>
              </a:lnSpc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None/>
              <a:defRPr kumimoji="0" sz="2000" b="1">
                <a:solidFill>
                  <a:srgbClr val="00009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457200" defTabSz="914400" eaLnBrk="1" latinLnBrk="0" hangingPunct="1">
              <a:defRPr sz="1800">
                <a:latin typeface="+mn-lt"/>
                <a:ea typeface="+mn-ea"/>
              </a:defRPr>
            </a:lvl2pPr>
            <a:lvl3pPr marL="914400" defTabSz="914400" eaLnBrk="1" latinLnBrk="0" hangingPunct="1">
              <a:defRPr sz="1800">
                <a:latin typeface="+mn-lt"/>
                <a:ea typeface="+mn-ea"/>
              </a:defRPr>
            </a:lvl3pPr>
            <a:lvl4pPr marL="1371600" defTabSz="914400" eaLnBrk="1" latinLnBrk="0" hangingPunct="1">
              <a:defRPr sz="1800">
                <a:latin typeface="+mn-lt"/>
                <a:ea typeface="+mn-ea"/>
              </a:defRPr>
            </a:lvl4pPr>
            <a:lvl5pPr marL="1828800" defTabSz="914400" eaLnBrk="1" latinLnBrk="0" hangingPunct="1">
              <a:defRPr sz="1800">
                <a:latin typeface="+mn-lt"/>
                <a:ea typeface="+mn-ea"/>
              </a:defRPr>
            </a:lvl5pPr>
            <a:lvl6pPr latinLnBrk="0">
              <a:defRPr sz="1800">
                <a:latin typeface="+mn-lt"/>
                <a:ea typeface="+mn-ea"/>
              </a:defRPr>
            </a:lvl6pPr>
            <a:lvl7pPr latinLnBrk="0">
              <a:defRPr sz="1800">
                <a:latin typeface="+mn-lt"/>
                <a:ea typeface="+mn-ea"/>
              </a:defRPr>
            </a:lvl7pPr>
            <a:lvl8pPr latinLnBrk="0">
              <a:defRPr sz="1800">
                <a:latin typeface="+mn-lt"/>
                <a:ea typeface="+mn-ea"/>
              </a:defRPr>
            </a:lvl8pPr>
            <a:lvl9pPr latinLnBrk="0">
              <a:defRPr sz="1800">
                <a:latin typeface="+mn-lt"/>
                <a:ea typeface="+mn-ea"/>
              </a:defRPr>
            </a:lvl9pPr>
          </a:lstStyle>
          <a:p>
            <a:pPr>
              <a:lnSpc>
                <a:spcPct val="100000"/>
              </a:lnSpc>
              <a:buClr>
                <a:srgbClr val="333399"/>
              </a:buClr>
              <a:defRPr/>
            </a:pPr>
            <a:r>
              <a:rPr lang="en-US" altLang="ko-KR" sz="4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Git &amp; GitHub</a:t>
            </a:r>
          </a:p>
          <a:p>
            <a:pPr>
              <a:lnSpc>
                <a:spcPct val="100000"/>
              </a:lnSpc>
              <a:buClr>
                <a:srgbClr val="333399"/>
              </a:buClr>
              <a:defRPr/>
            </a:pPr>
            <a:r>
              <a:rPr lang="ko-KR" altLang="en-US" sz="32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개념과 </a:t>
            </a:r>
            <a:r>
              <a:rPr lang="ko-KR" altLang="en-US" sz="3200" dirty="0" err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깃허브</a:t>
            </a:r>
            <a:r>
              <a:rPr lang="ko-KR" altLang="en-US" sz="32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사용</a:t>
            </a:r>
            <a:endParaRPr lang="en-US" altLang="ko-KR" sz="32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pic>
        <p:nvPicPr>
          <p:cNvPr id="7" name="그림 6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10DAD68B-8A8F-4058-A859-91B3F38372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7666" y="6339028"/>
            <a:ext cx="2293257" cy="569452"/>
          </a:xfrm>
          <a:prstGeom prst="rect">
            <a:avLst/>
          </a:prstGeom>
        </p:spPr>
      </p:pic>
      <p:pic>
        <p:nvPicPr>
          <p:cNvPr id="5" name="그림 4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BF25EF7C-F4E7-8DF0-1188-F6DA6740083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1420" y="6339028"/>
            <a:ext cx="1370580" cy="61163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52CB912-0A39-D29C-9887-194E5ED848AA}"/>
              </a:ext>
            </a:extLst>
          </p:cNvPr>
          <p:cNvSpPr txBox="1"/>
          <p:nvPr/>
        </p:nvSpPr>
        <p:spPr>
          <a:xfrm>
            <a:off x="8333475" y="2829116"/>
            <a:ext cx="18011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chemeClr val="bg1">
                    <a:lumMod val="65000"/>
                  </a:schemeClr>
                </a:solidFill>
                <a:effectLst/>
                <a:latin typeface="noto"/>
              </a:rPr>
              <a:t>2024.01.22</a:t>
            </a:r>
            <a:endParaRPr lang="ko-KR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/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25A022BC-9803-4E31-B59E-775A579C0B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C4109B9-3FFA-37B0-65C9-2BE73D3772A5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7F619EA-CC23-39CD-5EED-7D37EA838BD7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/>
              <a:t>GitHub </a:t>
            </a:r>
            <a:r>
              <a:rPr lang="ko-KR" altLang="en-US" b="1" dirty="0"/>
              <a:t>코드 저장하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5895F5E-F1B2-2B65-FE25-2B039BCAF635}"/>
              </a:ext>
            </a:extLst>
          </p:cNvPr>
          <p:cNvSpPr txBox="1"/>
          <p:nvPr/>
        </p:nvSpPr>
        <p:spPr>
          <a:xfrm>
            <a:off x="460523" y="1179154"/>
            <a:ext cx="509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/>
              <a:t>③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83864943-D477-004B-094B-B7E4ADF0F1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2484" y="1560604"/>
            <a:ext cx="10107032" cy="4813887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2A5D72E2-6A08-2BC6-EA0A-A20D6DEA7C71}"/>
              </a:ext>
            </a:extLst>
          </p:cNvPr>
          <p:cNvSpPr/>
          <p:nvPr/>
        </p:nvSpPr>
        <p:spPr>
          <a:xfrm>
            <a:off x="2888673" y="4333009"/>
            <a:ext cx="6463145" cy="2041482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5C6A8218-8D1A-214D-64A5-F85778926199}"/>
              </a:ext>
            </a:extLst>
          </p:cNvPr>
          <p:cNvSpPr/>
          <p:nvPr/>
        </p:nvSpPr>
        <p:spPr>
          <a:xfrm>
            <a:off x="2888673" y="3579079"/>
            <a:ext cx="6463145" cy="650318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594FB061-9DDC-0011-4F24-6616FC1525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2483" y="2116175"/>
            <a:ext cx="10107033" cy="449255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E31E8F2-24B3-5046-F90B-60ACF44CFA15}"/>
              </a:ext>
            </a:extLst>
          </p:cNvPr>
          <p:cNvSpPr txBox="1"/>
          <p:nvPr/>
        </p:nvSpPr>
        <p:spPr>
          <a:xfrm>
            <a:off x="7972978" y="2662961"/>
            <a:ext cx="3826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FF0000"/>
                </a:solidFill>
                <a:latin typeface="휴먼편지체" panose="02030504000101010101" pitchFamily="18" charset="-127"/>
                <a:ea typeface="휴먼편지체" panose="02030504000101010101" pitchFamily="18" charset="-127"/>
                <a:cs typeface="MV Boli" panose="02000500030200090000" pitchFamily="2" charset="0"/>
              </a:rPr>
              <a:t>1-1) </a:t>
            </a:r>
            <a:r>
              <a:rPr lang="ko-KR" altLang="en-US" b="1" dirty="0">
                <a:solidFill>
                  <a:srgbClr val="FF0000"/>
                </a:solidFill>
                <a:latin typeface="휴먼편지체" panose="02030504000101010101" pitchFamily="18" charset="-127"/>
                <a:ea typeface="휴먼편지체" panose="02030504000101010101" pitchFamily="18" charset="-127"/>
                <a:cs typeface="MV Boli" panose="02000500030200090000" pitchFamily="2" charset="0"/>
              </a:rPr>
              <a:t>파일을 끌어와서 업로드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3DB0E107-3419-6DAF-2C89-2E6CFAB1AAD1}"/>
              </a:ext>
            </a:extLst>
          </p:cNvPr>
          <p:cNvSpPr/>
          <p:nvPr/>
        </p:nvSpPr>
        <p:spPr>
          <a:xfrm>
            <a:off x="1652155" y="4634345"/>
            <a:ext cx="8956963" cy="1631374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14C6F2C-1D1A-42D2-6373-2EA51A59AEEF}"/>
              </a:ext>
            </a:extLst>
          </p:cNvPr>
          <p:cNvSpPr txBox="1"/>
          <p:nvPr/>
        </p:nvSpPr>
        <p:spPr>
          <a:xfrm>
            <a:off x="6347079" y="4643198"/>
            <a:ext cx="4345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FF0000"/>
                </a:solidFill>
                <a:latin typeface="휴먼편지체" panose="02030504000101010101" pitchFamily="18" charset="-127"/>
                <a:ea typeface="휴먼편지체" panose="02030504000101010101" pitchFamily="18" charset="-127"/>
                <a:cs typeface="MV Boli" panose="02000500030200090000" pitchFamily="2" charset="0"/>
              </a:rPr>
              <a:t>Tip) </a:t>
            </a:r>
            <a:r>
              <a:rPr lang="ko-KR" altLang="en-US" b="1" dirty="0">
                <a:solidFill>
                  <a:srgbClr val="FF0000"/>
                </a:solidFill>
                <a:latin typeface="휴먼편지체" panose="02030504000101010101" pitchFamily="18" charset="-127"/>
                <a:ea typeface="휴먼편지체" panose="02030504000101010101" pitchFamily="18" charset="-127"/>
                <a:cs typeface="MV Boli" panose="02000500030200090000" pitchFamily="2" charset="0"/>
              </a:rPr>
              <a:t>업로드시 업데이트 내용을 </a:t>
            </a:r>
            <a:r>
              <a:rPr lang="en-US" altLang="ko-KR" b="1" dirty="0">
                <a:solidFill>
                  <a:srgbClr val="FF0000"/>
                </a:solidFill>
                <a:latin typeface="휴먼편지체" panose="02030504000101010101" pitchFamily="18" charset="-127"/>
                <a:ea typeface="휴먼편지체" panose="02030504000101010101" pitchFamily="18" charset="-127"/>
                <a:cs typeface="MV Boli" panose="02000500030200090000" pitchFamily="2" charset="0"/>
              </a:rPr>
              <a:t>commit</a:t>
            </a:r>
            <a:r>
              <a:rPr lang="ko-KR" altLang="en-US" b="1" dirty="0">
                <a:solidFill>
                  <a:srgbClr val="FF0000"/>
                </a:solidFill>
                <a:latin typeface="휴먼편지체" panose="02030504000101010101" pitchFamily="18" charset="-127"/>
                <a:ea typeface="휴먼편지체" panose="02030504000101010101" pitchFamily="18" charset="-127"/>
                <a:cs typeface="MV Boli" panose="02000500030200090000" pitchFamily="2" charset="0"/>
              </a:rPr>
              <a:t>에 기입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A893E520-263D-A4E2-1519-353C3CEB0471}"/>
              </a:ext>
            </a:extLst>
          </p:cNvPr>
          <p:cNvSpPr/>
          <p:nvPr/>
        </p:nvSpPr>
        <p:spPr>
          <a:xfrm>
            <a:off x="2076588" y="6320105"/>
            <a:ext cx="1105786" cy="288627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407199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/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25A022BC-9803-4E31-B59E-775A579C0B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C4109B9-3FFA-37B0-65C9-2BE73D3772A5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7F619EA-CC23-39CD-5EED-7D37EA838BD7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/>
              <a:t>GitHub </a:t>
            </a:r>
            <a:r>
              <a:rPr lang="ko-KR" altLang="en-US" b="1" dirty="0"/>
              <a:t>코드 저장하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5895F5E-F1B2-2B65-FE25-2B039BCAF635}"/>
              </a:ext>
            </a:extLst>
          </p:cNvPr>
          <p:cNvSpPr txBox="1"/>
          <p:nvPr/>
        </p:nvSpPr>
        <p:spPr>
          <a:xfrm>
            <a:off x="460523" y="1179154"/>
            <a:ext cx="509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/>
              <a:t>④</a:t>
            </a:r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FE7B908C-B855-2AC1-2468-AFA1D782C3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92746" y="1597852"/>
            <a:ext cx="7206507" cy="4878008"/>
          </a:xfrm>
          <a:prstGeom prst="rect">
            <a:avLst/>
          </a:prstGeom>
        </p:spPr>
      </p:pic>
      <p:sp>
        <p:nvSpPr>
          <p:cNvPr id="5" name="직사각형 4">
            <a:extLst>
              <a:ext uri="{FF2B5EF4-FFF2-40B4-BE49-F238E27FC236}">
                <a16:creationId xmlns:a16="http://schemas.microsoft.com/office/drawing/2014/main" id="{A01026E8-3A4C-59AC-CCD1-8AD18F0820A0}"/>
              </a:ext>
            </a:extLst>
          </p:cNvPr>
          <p:cNvSpPr/>
          <p:nvPr/>
        </p:nvSpPr>
        <p:spPr>
          <a:xfrm>
            <a:off x="7938654" y="2182090"/>
            <a:ext cx="841663" cy="353291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79DEDBAB-C322-864F-9A35-917E359090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75210" y="2565157"/>
            <a:ext cx="1305107" cy="609685"/>
          </a:xfrm>
          <a:prstGeom prst="rect">
            <a:avLst/>
          </a:prstGeom>
        </p:spPr>
      </p:pic>
      <p:sp>
        <p:nvSpPr>
          <p:cNvPr id="13" name="직사각형 12">
            <a:extLst>
              <a:ext uri="{FF2B5EF4-FFF2-40B4-BE49-F238E27FC236}">
                <a16:creationId xmlns:a16="http://schemas.microsoft.com/office/drawing/2014/main" id="{EE8FA3F8-4D55-C0AD-ACF5-89CDA874822F}"/>
              </a:ext>
            </a:extLst>
          </p:cNvPr>
          <p:cNvSpPr/>
          <p:nvPr/>
        </p:nvSpPr>
        <p:spPr>
          <a:xfrm>
            <a:off x="7475209" y="2565157"/>
            <a:ext cx="1305107" cy="609685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7153A94F-78E0-674E-1D80-930FB3FEDA12}"/>
              </a:ext>
            </a:extLst>
          </p:cNvPr>
          <p:cNvSpPr/>
          <p:nvPr/>
        </p:nvSpPr>
        <p:spPr>
          <a:xfrm>
            <a:off x="8776851" y="2182089"/>
            <a:ext cx="841663" cy="353291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F091DDE5-7B5C-4528-14C4-24FE3BAC6D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08024" y="2565157"/>
            <a:ext cx="2987516" cy="2393061"/>
          </a:xfrm>
          <a:prstGeom prst="rect">
            <a:avLst/>
          </a:prstGeom>
        </p:spPr>
      </p:pic>
      <p:sp>
        <p:nvSpPr>
          <p:cNvPr id="22" name="직사각형 21">
            <a:extLst>
              <a:ext uri="{FF2B5EF4-FFF2-40B4-BE49-F238E27FC236}">
                <a16:creationId xmlns:a16="http://schemas.microsoft.com/office/drawing/2014/main" id="{A5641EB7-83AF-74A3-12B9-3A4461D51999}"/>
              </a:ext>
            </a:extLst>
          </p:cNvPr>
          <p:cNvSpPr/>
          <p:nvPr/>
        </p:nvSpPr>
        <p:spPr>
          <a:xfrm>
            <a:off x="8776850" y="2565157"/>
            <a:ext cx="3015224" cy="2393061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094365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/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25A022BC-9803-4E31-B59E-775A579C0B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C4109B9-3FFA-37B0-65C9-2BE73D3772A5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7F619EA-CC23-39CD-5EED-7D37EA838BD7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/>
              <a:t>GitHub </a:t>
            </a:r>
            <a:r>
              <a:rPr lang="ko-KR" altLang="en-US" b="1" dirty="0"/>
              <a:t>사용자 초대하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5895F5E-F1B2-2B65-FE25-2B039BCAF635}"/>
              </a:ext>
            </a:extLst>
          </p:cNvPr>
          <p:cNvSpPr txBox="1"/>
          <p:nvPr/>
        </p:nvSpPr>
        <p:spPr>
          <a:xfrm>
            <a:off x="460523" y="1179154"/>
            <a:ext cx="509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/>
              <a:t>①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A01026E8-3A4C-59AC-CCD1-8AD18F0820A0}"/>
              </a:ext>
            </a:extLst>
          </p:cNvPr>
          <p:cNvSpPr/>
          <p:nvPr/>
        </p:nvSpPr>
        <p:spPr>
          <a:xfrm>
            <a:off x="7938654" y="2182090"/>
            <a:ext cx="841663" cy="353291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79DEDBAB-C322-864F-9A35-917E359090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75210" y="2565157"/>
            <a:ext cx="1305107" cy="609685"/>
          </a:xfrm>
          <a:prstGeom prst="rect">
            <a:avLst/>
          </a:prstGeom>
        </p:spPr>
      </p:pic>
      <p:sp>
        <p:nvSpPr>
          <p:cNvPr id="13" name="직사각형 12">
            <a:extLst>
              <a:ext uri="{FF2B5EF4-FFF2-40B4-BE49-F238E27FC236}">
                <a16:creationId xmlns:a16="http://schemas.microsoft.com/office/drawing/2014/main" id="{EE8FA3F8-4D55-C0AD-ACF5-89CDA874822F}"/>
              </a:ext>
            </a:extLst>
          </p:cNvPr>
          <p:cNvSpPr/>
          <p:nvPr/>
        </p:nvSpPr>
        <p:spPr>
          <a:xfrm>
            <a:off x="7475209" y="2565157"/>
            <a:ext cx="1305107" cy="609685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7153A94F-78E0-674E-1D80-930FB3FEDA12}"/>
              </a:ext>
            </a:extLst>
          </p:cNvPr>
          <p:cNvSpPr/>
          <p:nvPr/>
        </p:nvSpPr>
        <p:spPr>
          <a:xfrm>
            <a:off x="8776851" y="2182089"/>
            <a:ext cx="841663" cy="353291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27F6BD1B-043D-AF33-30DB-947D7A1C6C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80599" y="1282349"/>
            <a:ext cx="8430802" cy="540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1986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/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25A022BC-9803-4E31-B59E-775A579C0B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C4109B9-3FFA-37B0-65C9-2BE73D3772A5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7F619EA-CC23-39CD-5EED-7D37EA838BD7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/>
              <a:t>GitHub </a:t>
            </a:r>
            <a:r>
              <a:rPr lang="ko-KR" altLang="en-US" b="1" dirty="0"/>
              <a:t>사용자 초대하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5895F5E-F1B2-2B65-FE25-2B039BCAF635}"/>
              </a:ext>
            </a:extLst>
          </p:cNvPr>
          <p:cNvSpPr txBox="1"/>
          <p:nvPr/>
        </p:nvSpPr>
        <p:spPr>
          <a:xfrm>
            <a:off x="460523" y="1179154"/>
            <a:ext cx="509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/>
              <a:t>②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A01026E8-3A4C-59AC-CCD1-8AD18F0820A0}"/>
              </a:ext>
            </a:extLst>
          </p:cNvPr>
          <p:cNvSpPr/>
          <p:nvPr/>
        </p:nvSpPr>
        <p:spPr>
          <a:xfrm>
            <a:off x="7938654" y="2182090"/>
            <a:ext cx="841663" cy="353291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79DEDBAB-C322-864F-9A35-917E359090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75210" y="2565157"/>
            <a:ext cx="1305107" cy="609685"/>
          </a:xfrm>
          <a:prstGeom prst="rect">
            <a:avLst/>
          </a:prstGeom>
        </p:spPr>
      </p:pic>
      <p:sp>
        <p:nvSpPr>
          <p:cNvPr id="13" name="직사각형 12">
            <a:extLst>
              <a:ext uri="{FF2B5EF4-FFF2-40B4-BE49-F238E27FC236}">
                <a16:creationId xmlns:a16="http://schemas.microsoft.com/office/drawing/2014/main" id="{EE8FA3F8-4D55-C0AD-ACF5-89CDA874822F}"/>
              </a:ext>
            </a:extLst>
          </p:cNvPr>
          <p:cNvSpPr/>
          <p:nvPr/>
        </p:nvSpPr>
        <p:spPr>
          <a:xfrm>
            <a:off x="7475209" y="2565157"/>
            <a:ext cx="1305107" cy="609685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9900FB3B-FF9E-4A79-DE96-875A82646C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3179" y="1480865"/>
            <a:ext cx="6925642" cy="3896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7875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/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25A022BC-9803-4E31-B59E-775A579C0B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C4109B9-3FFA-37B0-65C9-2BE73D3772A5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7F619EA-CC23-39CD-5EED-7D37EA838BD7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/>
              <a:t>GitHub </a:t>
            </a:r>
            <a:r>
              <a:rPr lang="ko-KR" altLang="en-US" b="1" dirty="0"/>
              <a:t>사용자 초대하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5895F5E-F1B2-2B65-FE25-2B039BCAF635}"/>
              </a:ext>
            </a:extLst>
          </p:cNvPr>
          <p:cNvSpPr txBox="1"/>
          <p:nvPr/>
        </p:nvSpPr>
        <p:spPr>
          <a:xfrm>
            <a:off x="460523" y="1179154"/>
            <a:ext cx="509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/>
              <a:t>③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A01026E8-3A4C-59AC-CCD1-8AD18F0820A0}"/>
              </a:ext>
            </a:extLst>
          </p:cNvPr>
          <p:cNvSpPr/>
          <p:nvPr/>
        </p:nvSpPr>
        <p:spPr>
          <a:xfrm>
            <a:off x="7938654" y="2182090"/>
            <a:ext cx="841663" cy="353291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79DEDBAB-C322-864F-9A35-917E359090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75210" y="2565157"/>
            <a:ext cx="1305107" cy="609685"/>
          </a:xfrm>
          <a:prstGeom prst="rect">
            <a:avLst/>
          </a:prstGeom>
        </p:spPr>
      </p:pic>
      <p:sp>
        <p:nvSpPr>
          <p:cNvPr id="13" name="직사각형 12">
            <a:extLst>
              <a:ext uri="{FF2B5EF4-FFF2-40B4-BE49-F238E27FC236}">
                <a16:creationId xmlns:a16="http://schemas.microsoft.com/office/drawing/2014/main" id="{EE8FA3F8-4D55-C0AD-ACF5-89CDA874822F}"/>
              </a:ext>
            </a:extLst>
          </p:cNvPr>
          <p:cNvSpPr/>
          <p:nvPr/>
        </p:nvSpPr>
        <p:spPr>
          <a:xfrm>
            <a:off x="7475209" y="2565157"/>
            <a:ext cx="1305107" cy="609685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D10C9C68-709A-3F52-0890-EA89498633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38074" y="1702374"/>
            <a:ext cx="5915851" cy="440116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3B43BD3-F9BC-2463-4E85-DBECE805CC50}"/>
              </a:ext>
            </a:extLst>
          </p:cNvPr>
          <p:cNvSpPr txBox="1"/>
          <p:nvPr/>
        </p:nvSpPr>
        <p:spPr>
          <a:xfrm>
            <a:off x="9177499" y="1781980"/>
            <a:ext cx="257704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2000" b="1" i="0" dirty="0">
                <a:solidFill>
                  <a:srgbClr val="EE0118"/>
                </a:solidFill>
                <a:effectLst/>
                <a:latin typeface="휴먼편지체" panose="02030504000101010101" pitchFamily="18" charset="-127"/>
                <a:ea typeface="휴먼편지체" panose="02030504000101010101" pitchFamily="18" charset="-127"/>
              </a:rPr>
              <a:t>repository invite </a:t>
            </a:r>
            <a:r>
              <a:rPr lang="ko-KR" altLang="en-US" sz="2000" b="1" i="0" dirty="0">
                <a:solidFill>
                  <a:srgbClr val="EE0118"/>
                </a:solidFill>
                <a:effectLst/>
                <a:latin typeface="휴먼편지체" panose="02030504000101010101" pitchFamily="18" charset="-127"/>
                <a:ea typeface="휴먼편지체" panose="02030504000101010101" pitchFamily="18" charset="-127"/>
              </a:rPr>
              <a:t>메일</a:t>
            </a:r>
            <a:endParaRPr lang="ko-KR" altLang="en-US" sz="2000" dirty="0">
              <a:solidFill>
                <a:srgbClr val="EE0118"/>
              </a:solidFill>
              <a:latin typeface="휴먼편지체" panose="02030504000101010101" pitchFamily="18" charset="-127"/>
              <a:ea typeface="휴먼편지체" panose="020305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223771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711EF71-8F50-40BC-B75D-B9594849A691}"/>
              </a:ext>
            </a:extLst>
          </p:cNvPr>
          <p:cNvSpPr txBox="1"/>
          <p:nvPr/>
        </p:nvSpPr>
        <p:spPr>
          <a:xfrm>
            <a:off x="2470150" y="2767280"/>
            <a:ext cx="72517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8000" b="1" kern="1200" dirty="0">
                <a:solidFill>
                  <a:srgbClr val="00206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Thank you</a:t>
            </a:r>
          </a:p>
        </p:txBody>
      </p:sp>
      <p:pic>
        <p:nvPicPr>
          <p:cNvPr id="4" name="그림 3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15A4B942-BE15-4F5C-889B-849089A726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8605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/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25A022BC-9803-4E31-B59E-775A579C0B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C4109B9-3FFA-37B0-65C9-2BE73D3772A5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7F619EA-CC23-39CD-5EED-7D37EA838BD7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개념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FE1B6912-0064-342D-ECE0-BB811D816A0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61" r="51037"/>
          <a:stretch/>
        </p:blipFill>
        <p:spPr>
          <a:xfrm>
            <a:off x="2660077" y="2353652"/>
            <a:ext cx="2234045" cy="2285325"/>
          </a:xfrm>
          <a:prstGeom prst="rect">
            <a:avLst/>
          </a:prstGeom>
        </p:spPr>
      </p:pic>
      <p:sp>
        <p:nvSpPr>
          <p:cNvPr id="9" name="부등호 8">
            <a:extLst>
              <a:ext uri="{FF2B5EF4-FFF2-40B4-BE49-F238E27FC236}">
                <a16:creationId xmlns:a16="http://schemas.microsoft.com/office/drawing/2014/main" id="{744954EB-1487-7490-8E6E-3B7FB03E1A33}"/>
              </a:ext>
            </a:extLst>
          </p:cNvPr>
          <p:cNvSpPr/>
          <p:nvPr/>
        </p:nvSpPr>
        <p:spPr>
          <a:xfrm>
            <a:off x="5327034" y="3185417"/>
            <a:ext cx="1600200" cy="654627"/>
          </a:xfrm>
          <a:prstGeom prst="mathNotEqual">
            <a:avLst>
              <a:gd name="adj1" fmla="val 15584"/>
              <a:gd name="adj2" fmla="val 6600000"/>
              <a:gd name="adj3" fmla="val 14935"/>
            </a:avLst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D031F105-A899-DC1A-9C01-438FCB733EE8}"/>
              </a:ext>
            </a:extLst>
          </p:cNvPr>
          <p:cNvSpPr/>
          <p:nvPr/>
        </p:nvSpPr>
        <p:spPr>
          <a:xfrm>
            <a:off x="4083627" y="1315660"/>
            <a:ext cx="7523018" cy="170973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ko-KR" sz="2000" b="1" dirty="0">
                <a:solidFill>
                  <a:schemeClr val="tx1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Git : </a:t>
            </a:r>
            <a:r>
              <a:rPr lang="ko-KR" altLang="en-US" sz="2000" b="1" dirty="0">
                <a:solidFill>
                  <a:schemeClr val="tx1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버전 관리 도구</a:t>
            </a:r>
            <a:br>
              <a:rPr lang="en-US" altLang="ko-KR" sz="2000" b="1" dirty="0">
                <a:solidFill>
                  <a:schemeClr val="tx1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</a:br>
            <a:r>
              <a:rPr lang="en-US" altLang="ko-KR" sz="2000" b="1" dirty="0">
                <a:solidFill>
                  <a:schemeClr val="tx1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chemeClr val="tx1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변경된 내용만 관리하는 도구</a:t>
            </a:r>
            <a:endParaRPr lang="en-US" altLang="ko-KR" sz="2000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chemeClr val="tx1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코드 합치기</a:t>
            </a:r>
            <a:r>
              <a:rPr lang="en-US" altLang="ko-KR" dirty="0">
                <a:solidFill>
                  <a:schemeClr val="tx1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, </a:t>
            </a:r>
            <a:r>
              <a:rPr lang="ko-KR" altLang="en-US" dirty="0">
                <a:solidFill>
                  <a:schemeClr val="tx1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이전 버전으로 돌아가기 등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1D00D5B9-06CF-92F9-1D9C-71334F9C3145}"/>
              </a:ext>
            </a:extLst>
          </p:cNvPr>
          <p:cNvSpPr/>
          <p:nvPr/>
        </p:nvSpPr>
        <p:spPr>
          <a:xfrm>
            <a:off x="322118" y="4664754"/>
            <a:ext cx="7523018" cy="170973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ko-KR" b="1" dirty="0">
                <a:solidFill>
                  <a:schemeClr val="tx1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GitHub : </a:t>
            </a:r>
            <a:r>
              <a:rPr lang="ko-KR" altLang="en-US" b="1" dirty="0">
                <a:solidFill>
                  <a:schemeClr val="tx1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코드 저장소 </a:t>
            </a:r>
            <a:br>
              <a:rPr lang="en-US" altLang="ko-KR" b="1" dirty="0">
                <a:solidFill>
                  <a:schemeClr val="tx1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</a:br>
            <a:r>
              <a:rPr lang="en-US" altLang="ko-KR" b="1" dirty="0">
                <a:solidFill>
                  <a:schemeClr val="tx1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	</a:t>
            </a:r>
          </a:p>
          <a:p>
            <a:r>
              <a:rPr lang="en-US" altLang="ko-KR" b="1" dirty="0">
                <a:solidFill>
                  <a:schemeClr val="tx1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	</a:t>
            </a:r>
            <a:r>
              <a:rPr lang="ko-KR" altLang="en-US" b="1" dirty="0">
                <a:solidFill>
                  <a:schemeClr val="tx1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코드 계의 클라우드 느낌</a:t>
            </a:r>
            <a:endParaRPr lang="ko-KR" altLang="en-US" dirty="0">
              <a:solidFill>
                <a:schemeClr val="tx1"/>
              </a:solidFill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algn="ctr"/>
            <a:endParaRPr lang="ko-KR" altLang="en-US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D5AD368C-715F-B247-4242-C727DD8406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27233" y="3051174"/>
            <a:ext cx="4679411" cy="1448090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85299984-A8D8-0DD4-B039-408D9222E77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50" r="6348"/>
          <a:stretch/>
        </p:blipFill>
        <p:spPr>
          <a:xfrm>
            <a:off x="7360146" y="2320392"/>
            <a:ext cx="2234045" cy="2285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917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75E-6 -2.22222E-6 L -0.18321 -0.1664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67" y="-833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1.11111E-6 L 0.21068 0.27685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534" y="1384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/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25A022BC-9803-4E31-B59E-775A579C0B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C4109B9-3FFA-37B0-65C9-2BE73D3772A5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7F619EA-CC23-39CD-5EED-7D37EA838BD7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개념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D81814-6343-1DE6-BFFE-41BB96EBE4F6}"/>
              </a:ext>
            </a:extLst>
          </p:cNvPr>
          <p:cNvSpPr txBox="1"/>
          <p:nvPr/>
        </p:nvSpPr>
        <p:spPr>
          <a:xfrm>
            <a:off x="5663792" y="1834216"/>
            <a:ext cx="16124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>
                <a:latin typeface="MV Boli" panose="02000500030200090000" pitchFamily="2" charset="0"/>
                <a:ea typeface="휴먼모음T" panose="02030504000101010101" pitchFamily="18" charset="-127"/>
                <a:cs typeface="MV Boli" panose="02000500030200090000" pitchFamily="2" charset="0"/>
              </a:rPr>
              <a:t>Push</a:t>
            </a:r>
            <a:endParaRPr lang="ko-KR" altLang="en-US" sz="2400" b="1" dirty="0">
              <a:latin typeface="MV Boli" panose="02000500030200090000" pitchFamily="2" charset="0"/>
              <a:ea typeface="휴먼모음T" panose="02030504000101010101" pitchFamily="18" charset="-127"/>
              <a:cs typeface="MV Boli" panose="02000500030200090000" pitchFamily="2" charset="0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A347A87A-A28F-CDEF-7210-86C224C9533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61" r="51037"/>
          <a:stretch/>
        </p:blipFill>
        <p:spPr>
          <a:xfrm>
            <a:off x="2660077" y="2114659"/>
            <a:ext cx="2234045" cy="2285325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C02F3011-33FB-8F54-0220-1704ADB95DE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50" r="6348"/>
          <a:stretch/>
        </p:blipFill>
        <p:spPr>
          <a:xfrm>
            <a:off x="7360146" y="2081399"/>
            <a:ext cx="2234045" cy="2285325"/>
          </a:xfrm>
          <a:prstGeom prst="rect">
            <a:avLst/>
          </a:prstGeom>
        </p:spPr>
      </p:pic>
      <p:sp>
        <p:nvSpPr>
          <p:cNvPr id="13" name="화살표: 오른쪽 12">
            <a:extLst>
              <a:ext uri="{FF2B5EF4-FFF2-40B4-BE49-F238E27FC236}">
                <a16:creationId xmlns:a16="http://schemas.microsoft.com/office/drawing/2014/main" id="{8AA5B8DE-14EC-1A2E-E2C5-C565EBB14162}"/>
              </a:ext>
            </a:extLst>
          </p:cNvPr>
          <p:cNvSpPr/>
          <p:nvPr/>
        </p:nvSpPr>
        <p:spPr>
          <a:xfrm>
            <a:off x="5660367" y="2959174"/>
            <a:ext cx="1009734" cy="461665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7FF12FA3-BC86-04C8-7F62-A4B9B6508BE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76" t="23684" r="28653" b="36791"/>
          <a:stretch/>
        </p:blipFill>
        <p:spPr>
          <a:xfrm>
            <a:off x="2649729" y="4447840"/>
            <a:ext cx="2164534" cy="1321148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FD6F8996-6331-2C94-ECA1-9E891F83384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76" t="23684" r="28653" b="36791"/>
          <a:stretch/>
        </p:blipFill>
        <p:spPr>
          <a:xfrm>
            <a:off x="7360146" y="4447840"/>
            <a:ext cx="2164534" cy="132114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BD51F11-C747-7629-163D-85C570DAE2DB}"/>
              </a:ext>
            </a:extLst>
          </p:cNvPr>
          <p:cNvSpPr txBox="1"/>
          <p:nvPr/>
        </p:nvSpPr>
        <p:spPr>
          <a:xfrm>
            <a:off x="2857504" y="6030401"/>
            <a:ext cx="20366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rgbClr val="002AB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코드 관리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50B3F1-DB7E-406A-0712-8FB091897D75}"/>
              </a:ext>
            </a:extLst>
          </p:cNvPr>
          <p:cNvSpPr txBox="1"/>
          <p:nvPr/>
        </p:nvSpPr>
        <p:spPr>
          <a:xfrm>
            <a:off x="7696204" y="6030401"/>
            <a:ext cx="20366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rgbClr val="002AB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코드 저장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050970-C436-70B7-07E1-50926B4F0E7C}"/>
              </a:ext>
            </a:extLst>
          </p:cNvPr>
          <p:cNvSpPr txBox="1"/>
          <p:nvPr/>
        </p:nvSpPr>
        <p:spPr>
          <a:xfrm>
            <a:off x="9717928" y="4029956"/>
            <a:ext cx="20366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ko-KR" altLang="en-US" sz="2000" b="1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다운 </a:t>
            </a:r>
            <a:r>
              <a:rPr lang="en-US" altLang="ko-KR" sz="2000" b="1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&amp; </a:t>
            </a:r>
            <a:r>
              <a:rPr lang="ko-KR" altLang="en-US" sz="2000" b="1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저장</a:t>
            </a:r>
          </a:p>
        </p:txBody>
      </p:sp>
    </p:spTree>
    <p:extLst>
      <p:ext uri="{BB962C8B-B14F-4D97-AF65-F5344CB8AC3E}">
        <p14:creationId xmlns:p14="http://schemas.microsoft.com/office/powerpoint/2010/main" val="2341999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/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25A022BC-9803-4E31-B59E-775A579C0B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C4109B9-3FFA-37B0-65C9-2BE73D3772A5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7F619EA-CC23-39CD-5EED-7D37EA838BD7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개념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A347A87A-A28F-CDEF-7210-86C224C9533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61" r="51037"/>
          <a:stretch/>
        </p:blipFill>
        <p:spPr>
          <a:xfrm>
            <a:off x="279279" y="1247277"/>
            <a:ext cx="1645799" cy="168357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6050970-C436-70B7-07E1-50926B4F0E7C}"/>
              </a:ext>
            </a:extLst>
          </p:cNvPr>
          <p:cNvSpPr txBox="1"/>
          <p:nvPr/>
        </p:nvSpPr>
        <p:spPr>
          <a:xfrm>
            <a:off x="2356606" y="1336041"/>
            <a:ext cx="8312787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ko-KR" altLang="en-US" sz="2400" b="1" dirty="0">
                <a:solidFill>
                  <a:srgbClr val="FF000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필요성</a:t>
            </a:r>
            <a:endParaRPr lang="en-US" altLang="ko-KR" sz="2400" b="1" dirty="0">
              <a:solidFill>
                <a:srgbClr val="FF0000"/>
              </a:solidFill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endParaRPr lang="en-US" altLang="ko-KR" sz="2400" b="1" dirty="0">
              <a:solidFill>
                <a:srgbClr val="FF0000"/>
              </a:solidFill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ko-KR" altLang="en-US" sz="2000" b="1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동시 작업 시 발생하는 문제점</a:t>
            </a:r>
            <a:r>
              <a:rPr lang="en-US" altLang="ko-KR" sz="2000" b="1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.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en-US" altLang="ko-KR" sz="2000" b="1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ko-KR" altLang="en-US" sz="2000" b="1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같은 페이지에 각자 수정사항을 업로드할 수 있고</a:t>
            </a:r>
            <a:r>
              <a:rPr lang="en-US" altLang="ko-KR" sz="2000" b="1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, </a:t>
            </a:r>
            <a:r>
              <a:rPr lang="ko-KR" altLang="en-US" sz="2000" b="1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두 개의 복사본은 저장하여 이를 사전에 방지할 수 있다</a:t>
            </a:r>
            <a:r>
              <a:rPr lang="en-US" altLang="ko-KR" sz="2000" b="1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.</a:t>
            </a:r>
            <a:endParaRPr lang="ko-KR" altLang="en-US" sz="2000" b="1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7C1EAB-A840-6C39-34F5-F538C416D120}"/>
              </a:ext>
            </a:extLst>
          </p:cNvPr>
          <p:cNvSpPr txBox="1"/>
          <p:nvPr/>
        </p:nvSpPr>
        <p:spPr>
          <a:xfrm>
            <a:off x="6300559" y="1565845"/>
            <a:ext cx="19036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dirty="0">
                <a:solidFill>
                  <a:srgbClr val="FF0000"/>
                </a:solidFill>
                <a:latin typeface="휴먼편지체" panose="02030504000101010101" pitchFamily="18" charset="-127"/>
                <a:ea typeface="휴먼편지체" panose="02030504000101010101" pitchFamily="18" charset="-127"/>
              </a:rPr>
              <a:t>작업 충돌 </a:t>
            </a:r>
            <a:r>
              <a:rPr lang="en-US" altLang="ko-KR" sz="2800" dirty="0">
                <a:solidFill>
                  <a:srgbClr val="FF0000"/>
                </a:solidFill>
                <a:latin typeface="휴먼편지체" panose="02030504000101010101" pitchFamily="18" charset="-127"/>
                <a:ea typeface="휴먼편지체" panose="02030504000101010101" pitchFamily="18" charset="-127"/>
              </a:rPr>
              <a:t>!</a:t>
            </a:r>
            <a:endParaRPr lang="ko-KR" altLang="en-US" sz="2800" dirty="0">
              <a:solidFill>
                <a:srgbClr val="FF0000"/>
              </a:solidFill>
              <a:latin typeface="휴먼편지체" panose="02030504000101010101" pitchFamily="18" charset="-127"/>
              <a:ea typeface="휴먼편지체" panose="02030504000101010101" pitchFamily="18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95764C-59C4-06F1-B270-2978C6902A00}"/>
              </a:ext>
            </a:extLst>
          </p:cNvPr>
          <p:cNvSpPr txBox="1"/>
          <p:nvPr/>
        </p:nvSpPr>
        <p:spPr>
          <a:xfrm>
            <a:off x="2356605" y="4011708"/>
            <a:ext cx="8312787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ko-KR" altLang="en-US" sz="2400" b="1" dirty="0">
                <a:solidFill>
                  <a:srgbClr val="002AB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장점</a:t>
            </a:r>
            <a:endParaRPr lang="en-US" altLang="ko-KR" sz="2400" b="1" dirty="0">
              <a:solidFill>
                <a:srgbClr val="002AB0"/>
              </a:solidFill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endParaRPr lang="en-US" altLang="ko-KR" sz="2400" b="1" dirty="0">
              <a:solidFill>
                <a:srgbClr val="002AB0"/>
              </a:solidFill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ko-KR" altLang="en-US" sz="2000" b="1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병렬 개발이 가능</a:t>
            </a:r>
            <a:endParaRPr lang="en-US" altLang="ko-KR" sz="2000" b="1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en-US" altLang="ko-KR" sz="2000" b="1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ko-KR" altLang="en-US" sz="2000" b="1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오프라인 환경에서도 개발을 진행 가능</a:t>
            </a:r>
            <a:endParaRPr lang="en-US" altLang="ko-KR" sz="2000" b="1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en-US" altLang="ko-KR" sz="2000" b="1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ko-KR" altLang="en-US" sz="2000" b="1" dirty="0" err="1">
                <a:latin typeface="휴먼모음T" panose="02030504000101010101" pitchFamily="18" charset="-127"/>
                <a:ea typeface="휴먼모음T" panose="02030504000101010101" pitchFamily="18" charset="-127"/>
              </a:rPr>
              <a:t>채계적인</a:t>
            </a:r>
            <a:r>
              <a:rPr lang="ko-KR" altLang="en-US" sz="2000" b="1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 개발</a:t>
            </a:r>
            <a:r>
              <a:rPr lang="en-US" altLang="ko-KR" sz="2000" b="1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, </a:t>
            </a:r>
            <a:r>
              <a:rPr lang="ko-KR" altLang="en-US" sz="2000" b="1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배포 가능</a:t>
            </a:r>
          </a:p>
        </p:txBody>
      </p:sp>
    </p:spTree>
    <p:extLst>
      <p:ext uri="{BB962C8B-B14F-4D97-AF65-F5344CB8AC3E}">
        <p14:creationId xmlns:p14="http://schemas.microsoft.com/office/powerpoint/2010/main" val="4114716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/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25A022BC-9803-4E31-B59E-775A579C0B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C4109B9-3FFA-37B0-65C9-2BE73D3772A5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7F619EA-CC23-39CD-5EED-7D37EA838BD7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/>
              <a:t>GitHub </a:t>
            </a:r>
            <a:r>
              <a:rPr lang="ko-KR" altLang="en-US" b="1" dirty="0"/>
              <a:t>코드 저장하기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C02F3011-33FB-8F54-0220-1704ADB95DE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50" r="6348"/>
          <a:stretch/>
        </p:blipFill>
        <p:spPr>
          <a:xfrm>
            <a:off x="7401789" y="2719624"/>
            <a:ext cx="2675237" cy="2736643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7FF12FA3-BC86-04C8-7F62-A4B9B6508BE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76" t="23684" r="28653" b="36791"/>
          <a:stretch/>
        </p:blipFill>
        <p:spPr>
          <a:xfrm>
            <a:off x="983411" y="2917051"/>
            <a:ext cx="3577248" cy="2183414"/>
          </a:xfrm>
          <a:prstGeom prst="rect">
            <a:avLst/>
          </a:prstGeom>
        </p:spPr>
      </p:pic>
      <p:sp>
        <p:nvSpPr>
          <p:cNvPr id="6" name="화살표: 오른쪽 5">
            <a:extLst>
              <a:ext uri="{FF2B5EF4-FFF2-40B4-BE49-F238E27FC236}">
                <a16:creationId xmlns:a16="http://schemas.microsoft.com/office/drawing/2014/main" id="{00A393DF-8CA9-2ED6-5C05-C8067A35C751}"/>
              </a:ext>
            </a:extLst>
          </p:cNvPr>
          <p:cNvSpPr/>
          <p:nvPr/>
        </p:nvSpPr>
        <p:spPr>
          <a:xfrm>
            <a:off x="5623751" y="3670079"/>
            <a:ext cx="944498" cy="417866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49572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/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25A022BC-9803-4E31-B59E-775A579C0B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C4109B9-3FFA-37B0-65C9-2BE73D3772A5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7F619EA-CC23-39CD-5EED-7D37EA838BD7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/>
              <a:t>GitHub </a:t>
            </a:r>
            <a:r>
              <a:rPr lang="ko-KR" altLang="en-US" b="1" dirty="0"/>
              <a:t>코드 저장하기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99E523EB-0921-465B-7661-593EBCC307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9677" y="1674033"/>
            <a:ext cx="10176446" cy="48018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5895F5E-F1B2-2B65-FE25-2B039BCAF635}"/>
              </a:ext>
            </a:extLst>
          </p:cNvPr>
          <p:cNvSpPr txBox="1"/>
          <p:nvPr/>
        </p:nvSpPr>
        <p:spPr>
          <a:xfrm>
            <a:off x="460523" y="1179154"/>
            <a:ext cx="509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/>
              <a:t>①</a:t>
            </a:r>
          </a:p>
        </p:txBody>
      </p:sp>
      <p:sp>
        <p:nvSpPr>
          <p:cNvPr id="5" name="타원 4">
            <a:extLst>
              <a:ext uri="{FF2B5EF4-FFF2-40B4-BE49-F238E27FC236}">
                <a16:creationId xmlns:a16="http://schemas.microsoft.com/office/drawing/2014/main" id="{D601E7EB-4615-2B43-9518-2E5F4FC1ECAA}"/>
              </a:ext>
            </a:extLst>
          </p:cNvPr>
          <p:cNvSpPr/>
          <p:nvPr/>
        </p:nvSpPr>
        <p:spPr>
          <a:xfrm>
            <a:off x="10183091" y="1622078"/>
            <a:ext cx="963032" cy="369332"/>
          </a:xfrm>
          <a:prstGeom prst="ellipse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E4F6D0-5B86-9972-DA4C-ECD8765B60BA}"/>
              </a:ext>
            </a:extLst>
          </p:cNvPr>
          <p:cNvSpPr txBox="1"/>
          <p:nvPr/>
        </p:nvSpPr>
        <p:spPr>
          <a:xfrm>
            <a:off x="10297391" y="1225752"/>
            <a:ext cx="1019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>
                <a:solidFill>
                  <a:srgbClr val="FF0000"/>
                </a:solidFill>
                <a:latin typeface="휴먼편지체" panose="02030504000101010101" pitchFamily="18" charset="-127"/>
                <a:ea typeface="휴먼편지체" panose="02030504000101010101" pitchFamily="18" charset="-127"/>
                <a:cs typeface="MV Boli" panose="02000500030200090000" pitchFamily="2" charset="0"/>
              </a:rPr>
              <a:t>회원가입</a:t>
            </a:r>
          </a:p>
        </p:txBody>
      </p:sp>
    </p:spTree>
    <p:extLst>
      <p:ext uri="{BB962C8B-B14F-4D97-AF65-F5344CB8AC3E}">
        <p14:creationId xmlns:p14="http://schemas.microsoft.com/office/powerpoint/2010/main" val="27208353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/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25A022BC-9803-4E31-B59E-775A579C0B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C4109B9-3FFA-37B0-65C9-2BE73D3772A5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7F619EA-CC23-39CD-5EED-7D37EA838BD7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/>
              <a:t>GitHub </a:t>
            </a:r>
            <a:r>
              <a:rPr lang="ko-KR" altLang="en-US" b="1" dirty="0"/>
              <a:t>코드 저장하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5895F5E-F1B2-2B65-FE25-2B039BCAF635}"/>
              </a:ext>
            </a:extLst>
          </p:cNvPr>
          <p:cNvSpPr txBox="1"/>
          <p:nvPr/>
        </p:nvSpPr>
        <p:spPr>
          <a:xfrm>
            <a:off x="460523" y="1179154"/>
            <a:ext cx="509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/>
              <a:t>②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20F0EA4F-8158-AB90-926E-4DFD333ADA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4962" y="1674033"/>
            <a:ext cx="10176447" cy="4817887"/>
          </a:xfrm>
          <a:prstGeom prst="rect">
            <a:avLst/>
          </a:prstGeom>
        </p:spPr>
      </p:pic>
      <p:sp>
        <p:nvSpPr>
          <p:cNvPr id="7" name="타원 6">
            <a:extLst>
              <a:ext uri="{FF2B5EF4-FFF2-40B4-BE49-F238E27FC236}">
                <a16:creationId xmlns:a16="http://schemas.microsoft.com/office/drawing/2014/main" id="{C870E01A-DE24-FC98-5D18-BE61F1E1E128}"/>
              </a:ext>
            </a:extLst>
          </p:cNvPr>
          <p:cNvSpPr/>
          <p:nvPr/>
        </p:nvSpPr>
        <p:spPr>
          <a:xfrm>
            <a:off x="789277" y="2036618"/>
            <a:ext cx="2005440" cy="1145308"/>
          </a:xfrm>
          <a:prstGeom prst="ellipse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B4F740-4A71-D0BD-7341-12F88A5860BA}"/>
              </a:ext>
            </a:extLst>
          </p:cNvPr>
          <p:cNvSpPr txBox="1"/>
          <p:nvPr/>
        </p:nvSpPr>
        <p:spPr>
          <a:xfrm>
            <a:off x="2279453" y="3159378"/>
            <a:ext cx="14716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>
                <a:solidFill>
                  <a:srgbClr val="FF0000"/>
                </a:solidFill>
                <a:latin typeface="휴먼편지체" panose="02030504000101010101" pitchFamily="18" charset="-127"/>
                <a:ea typeface="휴먼편지체" panose="02030504000101010101" pitchFamily="18" charset="-127"/>
                <a:cs typeface="MV Boli" panose="02000500030200090000" pitchFamily="2" charset="0"/>
              </a:rPr>
              <a:t>저장소 생성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9AEDC3-0AF9-2D98-731F-D55402424219}"/>
              </a:ext>
            </a:extLst>
          </p:cNvPr>
          <p:cNvSpPr txBox="1"/>
          <p:nvPr/>
        </p:nvSpPr>
        <p:spPr>
          <a:xfrm>
            <a:off x="964962" y="3867426"/>
            <a:ext cx="22124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>
                <a:solidFill>
                  <a:srgbClr val="00B050"/>
                </a:solidFill>
                <a:latin typeface="휴먼편지체" panose="02030504000101010101" pitchFamily="18" charset="-127"/>
                <a:ea typeface="휴먼편지체" panose="02030504000101010101" pitchFamily="18" charset="-127"/>
                <a:cs typeface="MV Boli" panose="02000500030200090000" pitchFamily="2" charset="0"/>
              </a:rPr>
              <a:t>특정 프로젝트의 폴더를 </a:t>
            </a:r>
            <a:r>
              <a:rPr lang="ko-KR" altLang="en-US" b="1" dirty="0" err="1">
                <a:solidFill>
                  <a:srgbClr val="00B050"/>
                </a:solidFill>
                <a:latin typeface="휴먼편지체" panose="02030504000101010101" pitchFamily="18" charset="-127"/>
                <a:ea typeface="휴먼편지체" panose="02030504000101010101" pitchFamily="18" charset="-127"/>
                <a:cs typeface="MV Boli" panose="02000500030200090000" pitchFamily="2" charset="0"/>
              </a:rPr>
              <a:t>생성하는것</a:t>
            </a:r>
            <a:endParaRPr lang="ko-KR" altLang="en-US" b="1" dirty="0">
              <a:solidFill>
                <a:srgbClr val="00B050"/>
              </a:solidFill>
              <a:latin typeface="휴먼편지체" panose="02030504000101010101" pitchFamily="18" charset="-127"/>
              <a:ea typeface="휴먼편지체" panose="02030504000101010101" pitchFamily="18" charset="-127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35976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6569C06C-7D2A-FE70-423D-8ACDF1973E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0663" y="1641682"/>
            <a:ext cx="10160366" cy="4850238"/>
          </a:xfrm>
          <a:prstGeom prst="rect">
            <a:avLst/>
          </a:prstGeom>
        </p:spPr>
      </p:pic>
      <p:sp>
        <p:nvSpPr>
          <p:cNvPr id="39939" name="Text Box 2"/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25A022BC-9803-4E31-B59E-775A579C0BC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C4109B9-3FFA-37B0-65C9-2BE73D3772A5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7F619EA-CC23-39CD-5EED-7D37EA838BD7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/>
              <a:t>GitHub </a:t>
            </a:r>
            <a:r>
              <a:rPr lang="ko-KR" altLang="en-US" b="1" dirty="0"/>
              <a:t>코드 저장하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5895F5E-F1B2-2B65-FE25-2B039BCAF635}"/>
              </a:ext>
            </a:extLst>
          </p:cNvPr>
          <p:cNvSpPr txBox="1"/>
          <p:nvPr/>
        </p:nvSpPr>
        <p:spPr>
          <a:xfrm>
            <a:off x="460523" y="1179154"/>
            <a:ext cx="509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/>
              <a:t>③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14E30D89-BBEE-C455-C881-FE334306D099}"/>
              </a:ext>
            </a:extLst>
          </p:cNvPr>
          <p:cNvSpPr/>
          <p:nvPr/>
        </p:nvSpPr>
        <p:spPr>
          <a:xfrm>
            <a:off x="3792682" y="2088573"/>
            <a:ext cx="4229100" cy="4623954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377004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/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25A022BC-9803-4E31-B59E-775A579C0B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C4109B9-3FFA-37B0-65C9-2BE73D3772A5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7F619EA-CC23-39CD-5EED-7D37EA838BD7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/>
              <a:t>GitHub </a:t>
            </a:r>
            <a:r>
              <a:rPr lang="ko-KR" altLang="en-US" b="1" dirty="0"/>
              <a:t>코드 저장하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5895F5E-F1B2-2B65-FE25-2B039BCAF635}"/>
              </a:ext>
            </a:extLst>
          </p:cNvPr>
          <p:cNvSpPr txBox="1"/>
          <p:nvPr/>
        </p:nvSpPr>
        <p:spPr>
          <a:xfrm>
            <a:off x="460523" y="1179154"/>
            <a:ext cx="509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/>
              <a:t>③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83864943-D477-004B-094B-B7E4ADF0F1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2484" y="1560604"/>
            <a:ext cx="10107032" cy="4813887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2A5D72E2-6A08-2BC6-EA0A-A20D6DEA7C71}"/>
              </a:ext>
            </a:extLst>
          </p:cNvPr>
          <p:cNvSpPr/>
          <p:nvPr/>
        </p:nvSpPr>
        <p:spPr>
          <a:xfrm>
            <a:off x="2888673" y="4333009"/>
            <a:ext cx="6463145" cy="2041482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31E8F2-24B3-5046-F90B-60ACF44CFA15}"/>
              </a:ext>
            </a:extLst>
          </p:cNvPr>
          <p:cNvSpPr txBox="1"/>
          <p:nvPr/>
        </p:nvSpPr>
        <p:spPr>
          <a:xfrm>
            <a:off x="715100" y="4974230"/>
            <a:ext cx="21717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arenR" startAt="2"/>
            </a:pPr>
            <a:r>
              <a:rPr lang="en-US" altLang="ko-KR" b="1" dirty="0">
                <a:solidFill>
                  <a:srgbClr val="FF0000"/>
                </a:solidFill>
                <a:latin typeface="휴먼편지체" panose="02030504000101010101" pitchFamily="18" charset="-127"/>
                <a:ea typeface="휴먼편지체" panose="02030504000101010101" pitchFamily="18" charset="-127"/>
                <a:cs typeface="MV Boli" panose="02000500030200090000" pitchFamily="2" charset="0"/>
              </a:rPr>
              <a:t>Git </a:t>
            </a:r>
            <a:r>
              <a:rPr lang="ko-KR" altLang="en-US" b="1" dirty="0">
                <a:solidFill>
                  <a:srgbClr val="FF0000"/>
                </a:solidFill>
                <a:latin typeface="휴먼편지체" panose="02030504000101010101" pitchFamily="18" charset="-127"/>
                <a:ea typeface="휴먼편지체" panose="02030504000101010101" pitchFamily="18" charset="-127"/>
                <a:cs typeface="MV Boli" panose="02000500030200090000" pitchFamily="2" charset="0"/>
              </a:rPr>
              <a:t>명령어를 사용해서 코드를 관리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5C6A8218-8D1A-214D-64A5-F85778926199}"/>
              </a:ext>
            </a:extLst>
          </p:cNvPr>
          <p:cNvSpPr/>
          <p:nvPr/>
        </p:nvSpPr>
        <p:spPr>
          <a:xfrm>
            <a:off x="2888673" y="3579079"/>
            <a:ext cx="6463145" cy="650318"/>
          </a:xfrm>
          <a:prstGeom prst="rect">
            <a:avLst/>
          </a:prstGeom>
          <a:noFill/>
          <a:ln w="38100">
            <a:solidFill>
              <a:srgbClr val="EE011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F0D43F9-128B-DBDD-8A5F-9578CFE271B6}"/>
              </a:ext>
            </a:extLst>
          </p:cNvPr>
          <p:cNvSpPr txBox="1"/>
          <p:nvPr/>
        </p:nvSpPr>
        <p:spPr>
          <a:xfrm>
            <a:off x="715100" y="3772328"/>
            <a:ext cx="21717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arenR"/>
            </a:pPr>
            <a:r>
              <a:rPr lang="ko-KR" altLang="en-US" b="1" dirty="0">
                <a:solidFill>
                  <a:srgbClr val="FF0000"/>
                </a:solidFill>
                <a:latin typeface="휴먼편지체" panose="02030504000101010101" pitchFamily="18" charset="-127"/>
                <a:ea typeface="휴먼편지체" panose="02030504000101010101" pitchFamily="18" charset="-127"/>
                <a:cs typeface="MV Boli" panose="02000500030200090000" pitchFamily="2" charset="0"/>
              </a:rPr>
              <a:t>쉽게 파일을 업로드</a:t>
            </a:r>
          </a:p>
        </p:txBody>
      </p:sp>
    </p:spTree>
    <p:extLst>
      <p:ext uri="{BB962C8B-B14F-4D97-AF65-F5344CB8AC3E}">
        <p14:creationId xmlns:p14="http://schemas.microsoft.com/office/powerpoint/2010/main" val="25201261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nhe2z_RyaotCM6A3Ry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nQUkrYRpW1VjTBn_pB3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O.Lx9eT4uGfcE9Iue8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Rex3IbQEqqLYiYZi9a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nPiE5yQzmFx9bC5ltL1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8AFR2QS4mAAreO8iy0T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1QVEWHRtW5jkU02xK1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3KHBdNS2yd5U4ImHcl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abFrBZRSmxVTcWS_Um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ZiujeMQ2Od7enQBMGz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8JXg4PQhWOHrVkAXKq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R_HWYPQkCFzhSX0cPQ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33MGWVSoOVL217rxoq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rFS93STJqxohIYblbPs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i7p.jkTEqT9E0mjZeeZ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rnBioaQDyT8bWj2gAu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87f.IzQQe5FTCiL1tr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h2FnDwQ9mi9Q.CXF75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ydmYlJQWSXkQFIJDsn_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wmhqRoSM.uTi0JaDBN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t9UrxFRyWWjPdB7PJkO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rwKJZKSB.M4EbG5NC6S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9UkTj8ShqleMOe6kwM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S4KULMR.mKCmMDu58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0UOcCHT7SLSuVt3kJo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PT Master // Mercedes-Benz // 16x9 // schwarz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 alte Schriften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5_MB_PC_presentation_EN_16_9 (1).potx [Read-Only]" id="{959A5932-109C-4127-8C7D-4860A7CADCC2}" vid="{AEF4A8A2-4C81-4868-A8FB-CE2ABB072A8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738</TotalTime>
  <Words>213</Words>
  <Application>Microsoft Office PowerPoint</Application>
  <PresentationFormat>와이드스크린</PresentationFormat>
  <Paragraphs>82</Paragraphs>
  <Slides>15</Slides>
  <Notes>14</Notes>
  <HiddenSlides>0</HiddenSlides>
  <MMClips>0</MMClips>
  <ScaleCrop>false</ScaleCrop>
  <HeadingPairs>
    <vt:vector size="8" baseType="variant">
      <vt:variant>
        <vt:lpstr>사용한 글꼴</vt:lpstr>
      </vt:variant>
      <vt:variant>
        <vt:i4>13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5</vt:i4>
      </vt:variant>
    </vt:vector>
  </HeadingPairs>
  <TitlesOfParts>
    <vt:vector size="31" baseType="lpstr">
      <vt:lpstr>CorpoA</vt:lpstr>
      <vt:lpstr>CorpoS</vt:lpstr>
      <vt:lpstr>HY헤드라인M</vt:lpstr>
      <vt:lpstr>noto</vt:lpstr>
      <vt:lpstr>맑은 고딕</vt:lpstr>
      <vt:lpstr>현대하모니 L</vt:lpstr>
      <vt:lpstr>휴먼모음T</vt:lpstr>
      <vt:lpstr>휴먼편지체</vt:lpstr>
      <vt:lpstr>Arial</vt:lpstr>
      <vt:lpstr>MV Boli</vt:lpstr>
      <vt:lpstr>Symbol</vt:lpstr>
      <vt:lpstr>Times New Roman</vt:lpstr>
      <vt:lpstr>Wingdings</vt:lpstr>
      <vt:lpstr>Office Theme</vt:lpstr>
      <vt:lpstr>PPT Master // Mercedes-Benz // 16x9 // schwarz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6월 2주차 진행보고</dc:title>
  <dc:creator>Subin Yi</dc:creator>
  <cp:lastModifiedBy>태걸 우</cp:lastModifiedBy>
  <cp:revision>433</cp:revision>
  <dcterms:created xsi:type="dcterms:W3CDTF">2019-12-03T05:31:16Z</dcterms:created>
  <dcterms:modified xsi:type="dcterms:W3CDTF">2024-01-22T04:54:23Z</dcterms:modified>
</cp:coreProperties>
</file>